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494" r:id="rId3"/>
    <p:sldId id="2933" r:id="rId4"/>
    <p:sldId id="2835" r:id="rId5"/>
    <p:sldId id="505" r:id="rId6"/>
    <p:sldId id="518" r:id="rId7"/>
    <p:sldId id="2913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DDBD794-1233-453D-B847-CEE64113A482}" v="16" dt="2024-03-30T09:21:47.25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1" d="100"/>
          <a:sy n="91" d="100"/>
        </p:scale>
        <p:origin x="26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microsoft.com/office/2016/11/relationships/changesInfo" Target="changesInfos/changesInfo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meet Agrawal" userId="d594252a9a40ee80" providerId="LiveId" clId="{2DDBD794-1233-453D-B847-CEE64113A482}"/>
    <pc:docChg chg="undo custSel addSld delSld modSld sldOrd">
      <pc:chgData name="Sumeet Agrawal" userId="d594252a9a40ee80" providerId="LiveId" clId="{2DDBD794-1233-453D-B847-CEE64113A482}" dt="2024-03-30T09:21:47.253" v="21"/>
      <pc:docMkLst>
        <pc:docMk/>
      </pc:docMkLst>
      <pc:sldChg chg="modSp add del mod">
        <pc:chgData name="Sumeet Agrawal" userId="d594252a9a40ee80" providerId="LiveId" clId="{2DDBD794-1233-453D-B847-CEE64113A482}" dt="2024-03-30T09:17:42.302" v="4"/>
        <pc:sldMkLst>
          <pc:docMk/>
          <pc:sldMk cId="3602409730" sldId="494"/>
        </pc:sldMkLst>
        <pc:spChg chg="mod">
          <ac:chgData name="Sumeet Agrawal" userId="d594252a9a40ee80" providerId="LiveId" clId="{2DDBD794-1233-453D-B847-CEE64113A482}" dt="2024-03-30T09:17:42.094" v="3"/>
          <ac:spMkLst>
            <pc:docMk/>
            <pc:sldMk cId="3602409730" sldId="494"/>
            <ac:spMk id="13" creationId="{B2E2AB32-F299-4544-9E27-02B3F461206C}"/>
          </ac:spMkLst>
        </pc:spChg>
      </pc:sldChg>
      <pc:sldChg chg="add del">
        <pc:chgData name="Sumeet Agrawal" userId="d594252a9a40ee80" providerId="LiveId" clId="{2DDBD794-1233-453D-B847-CEE64113A482}" dt="2024-03-30T09:18:19.224" v="7"/>
        <pc:sldMkLst>
          <pc:docMk/>
          <pc:sldMk cId="2594714972" sldId="505"/>
        </pc:sldMkLst>
      </pc:sldChg>
      <pc:sldChg chg="add del">
        <pc:chgData name="Sumeet Agrawal" userId="d594252a9a40ee80" providerId="LiveId" clId="{2DDBD794-1233-453D-B847-CEE64113A482}" dt="2024-03-30T09:18:34.155" v="10"/>
        <pc:sldMkLst>
          <pc:docMk/>
          <pc:sldMk cId="1123765102" sldId="518"/>
        </pc:sldMkLst>
      </pc:sldChg>
      <pc:sldChg chg="add del ord">
        <pc:chgData name="Sumeet Agrawal" userId="d594252a9a40ee80" providerId="LiveId" clId="{2DDBD794-1233-453D-B847-CEE64113A482}" dt="2024-03-30T09:19:34.442" v="15"/>
        <pc:sldMkLst>
          <pc:docMk/>
          <pc:sldMk cId="3181325079" sldId="2835"/>
        </pc:sldMkLst>
      </pc:sldChg>
      <pc:sldChg chg="add del">
        <pc:chgData name="Sumeet Agrawal" userId="d594252a9a40ee80" providerId="LiveId" clId="{2DDBD794-1233-453D-B847-CEE64113A482}" dt="2024-03-30T09:21:47.253" v="21"/>
        <pc:sldMkLst>
          <pc:docMk/>
          <pc:sldMk cId="3464805619" sldId="2913"/>
        </pc:sldMkLst>
      </pc:sldChg>
      <pc:sldChg chg="add ord">
        <pc:chgData name="Sumeet Agrawal" userId="d594252a9a40ee80" providerId="LiveId" clId="{2DDBD794-1233-453D-B847-CEE64113A482}" dt="2024-03-30T09:21:05.004" v="18"/>
        <pc:sldMkLst>
          <pc:docMk/>
          <pc:sldMk cId="1857036815" sldId="2933"/>
        </pc:sldMkLst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99CFB3-1511-2A34-BB65-1A180126EE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C92C8A7-7DF5-2542-F071-506C880E50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43B447-753C-FD42-B8DC-0DD26D7C72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FCE99-28CB-4576-814E-CB492032E247}" type="datetimeFigureOut">
              <a:rPr lang="en-SG" smtClean="0"/>
              <a:t>30/3/2024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B0400E-9363-6770-995C-B169D85D75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EAB809-10FB-27E2-CF1B-BFE87A1D4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4B9B-1019-4B78-8534-19D0CE742A2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0325007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5D081-1B9F-A6DD-44DC-AC8268A8A4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40A82BE-E333-6B60-3C2D-D034CD9ED8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DC8AE9-DB9C-4ACC-2C51-FF26551D75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FCE99-28CB-4576-814E-CB492032E247}" type="datetimeFigureOut">
              <a:rPr lang="en-SG" smtClean="0"/>
              <a:t>30/3/2024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4364AE-EDDE-DE00-E41F-E12C058BC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FD99A0-B2BC-A4D0-3A2C-3B51828AF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4B9B-1019-4B78-8534-19D0CE742A2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6097196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C6198C7-BDAC-0F20-88AD-99DBF4DA710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4EB2823-D888-3D4B-CDE7-40064A6998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AC4E6D-62A6-E5F5-C22F-D47972E3C3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FCE99-28CB-4576-814E-CB492032E247}" type="datetimeFigureOut">
              <a:rPr lang="en-SG" smtClean="0"/>
              <a:t>30/3/2024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4AAB0B-6EB5-DCC9-78AC-3FB137005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9965EE-64DE-2CA4-3D99-CEB7239956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4B9B-1019-4B78-8534-19D0CE742A2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086134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70633FD-5002-4CB5-AD7C-7900670298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234468"/>
            <a:ext cx="11160000" cy="5438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3200" b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3200"/>
            </a:lvl2pPr>
            <a:lvl3pPr marL="914400" indent="0">
              <a:buNone/>
              <a:defRPr sz="28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IN"/>
              <a:t>Click to add headline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04046EA-8EBB-4041-B8A2-FAF38BEF383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5938" y="788041"/>
            <a:ext cx="11160124" cy="50305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685800" indent="-228600">
              <a:lnSpc>
                <a:spcPct val="100000"/>
              </a:lnSpc>
              <a:buFont typeface="Wingdings" panose="05000000000000000000" pitchFamily="2" charset="2"/>
              <a:buChar char="§"/>
              <a:defRPr/>
            </a:lvl2pPr>
            <a:lvl3pPr marL="1143000" indent="-228600">
              <a:lnSpc>
                <a:spcPct val="100000"/>
              </a:lnSpc>
              <a:buFont typeface="Wingdings" panose="05000000000000000000" pitchFamily="2" charset="2"/>
              <a:buChar char="§"/>
              <a:defRPr/>
            </a:lvl3pPr>
            <a:lvl4pPr marL="1600200" indent="-228600">
              <a:lnSpc>
                <a:spcPct val="100000"/>
              </a:lnSpc>
              <a:buFont typeface="Wingdings" panose="05000000000000000000" pitchFamily="2" charset="2"/>
              <a:buChar char="§"/>
              <a:defRPr/>
            </a:lvl4pPr>
            <a:lvl5pPr marL="2057400" indent="-228600">
              <a:lnSpc>
                <a:spcPct val="100000"/>
              </a:lnSpc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/>
              <a:t>Your subhead line will go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E07879D-C252-4919-8117-F50CDDCD732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938" y="1348954"/>
            <a:ext cx="11160125" cy="4839613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2000">
                <a:solidFill>
                  <a:schemeClr val="bg1">
                    <a:lumMod val="10000"/>
                  </a:schemeClr>
                </a:solidFill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800">
                <a:solidFill>
                  <a:schemeClr val="bg1">
                    <a:lumMod val="10000"/>
                  </a:schemeClr>
                </a:solidFill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600">
                <a:solidFill>
                  <a:schemeClr val="bg1">
                    <a:lumMod val="10000"/>
                  </a:schemeClr>
                </a:solidFill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>
                <a:solidFill>
                  <a:schemeClr val="bg1">
                    <a:lumMod val="10000"/>
                  </a:schemeClr>
                </a:solidFill>
              </a:defRPr>
            </a:lvl4pPr>
            <a:lvl5pPr marL="2057400" indent="-228600">
              <a:lnSpc>
                <a:spcPct val="100000"/>
              </a:lnSpc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29D293-E2A3-487D-A2DE-EAB7373F3CD8}"/>
              </a:ext>
            </a:extLst>
          </p:cNvPr>
          <p:cNvSpPr txBox="1"/>
          <p:nvPr userDrawn="1"/>
        </p:nvSpPr>
        <p:spPr>
          <a:xfrm>
            <a:off x="11257833" y="6478546"/>
            <a:ext cx="50967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444FD5-7869-469B-9482-6C5A8EF3AA37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44648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581FC191-E305-42D1-AB61-B2FEF4ECA8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40" y="240851"/>
            <a:ext cx="11160126" cy="10630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3200" b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3200"/>
            </a:lvl2pPr>
            <a:lvl3pPr marL="914400" indent="0">
              <a:buNone/>
              <a:defRPr sz="28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IN"/>
              <a:t>Click to add headline here, your headline will go in max two lines.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5D910BF-621B-4657-B868-1CAD5332B1B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938" y="1879003"/>
            <a:ext cx="11160125" cy="3617047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2000">
                <a:solidFill>
                  <a:schemeClr val="bg1">
                    <a:lumMod val="10000"/>
                  </a:schemeClr>
                </a:solidFill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800">
                <a:solidFill>
                  <a:schemeClr val="bg1">
                    <a:lumMod val="10000"/>
                  </a:schemeClr>
                </a:solidFill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600">
                <a:solidFill>
                  <a:schemeClr val="bg1">
                    <a:lumMod val="10000"/>
                  </a:schemeClr>
                </a:solidFill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>
                <a:solidFill>
                  <a:schemeClr val="bg1">
                    <a:lumMod val="10000"/>
                  </a:schemeClr>
                </a:solidFill>
              </a:defRPr>
            </a:lvl4pPr>
            <a:lvl5pPr marL="2057400" indent="-228600">
              <a:lnSpc>
                <a:spcPct val="100000"/>
              </a:lnSpc>
              <a:buFont typeface="Wingdings" panose="05000000000000000000" pitchFamily="2" charset="2"/>
              <a:buChar char="§"/>
              <a:defRPr sz="1600">
                <a:solidFill>
                  <a:schemeClr val="accent1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A816DB8-E971-48C6-AC5E-BA02AD12A56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5938" y="1315731"/>
            <a:ext cx="11160125" cy="43128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685800" indent="-228600">
              <a:lnSpc>
                <a:spcPct val="100000"/>
              </a:lnSpc>
              <a:buFont typeface="Wingdings" panose="05000000000000000000" pitchFamily="2" charset="2"/>
              <a:buChar char="§"/>
              <a:defRPr/>
            </a:lvl2pPr>
            <a:lvl3pPr marL="1143000" indent="-228600">
              <a:lnSpc>
                <a:spcPct val="100000"/>
              </a:lnSpc>
              <a:buFont typeface="Wingdings" panose="05000000000000000000" pitchFamily="2" charset="2"/>
              <a:buChar char="§"/>
              <a:defRPr/>
            </a:lvl3pPr>
            <a:lvl4pPr marL="1600200" indent="-228600">
              <a:lnSpc>
                <a:spcPct val="100000"/>
              </a:lnSpc>
              <a:buFont typeface="Wingdings" panose="05000000000000000000" pitchFamily="2" charset="2"/>
              <a:buChar char="§"/>
              <a:defRPr/>
            </a:lvl4pPr>
            <a:lvl5pPr marL="2057400" indent="-228600">
              <a:lnSpc>
                <a:spcPct val="100000"/>
              </a:lnSpc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/>
              <a:t>Your subhead line will go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CB92F7B-4589-413A-9CFB-663738B6A9B4}"/>
              </a:ext>
            </a:extLst>
          </p:cNvPr>
          <p:cNvSpPr txBox="1"/>
          <p:nvPr userDrawn="1"/>
        </p:nvSpPr>
        <p:spPr>
          <a:xfrm>
            <a:off x="11257833" y="6478546"/>
            <a:ext cx="50967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444FD5-7869-469B-9482-6C5A8EF3AA37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23724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35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ide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F82AB3E-478F-4E21-B447-FCB51CC2A20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78313" y="213644"/>
            <a:ext cx="7397750" cy="5195118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2000">
                <a:solidFill>
                  <a:schemeClr val="bg1">
                    <a:lumMod val="10000"/>
                  </a:schemeClr>
                </a:solidFill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800">
                <a:solidFill>
                  <a:schemeClr val="bg1">
                    <a:lumMod val="10000"/>
                  </a:schemeClr>
                </a:solidFill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600">
                <a:solidFill>
                  <a:schemeClr val="bg1">
                    <a:lumMod val="10000"/>
                  </a:schemeClr>
                </a:solidFill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>
                <a:solidFill>
                  <a:schemeClr val="bg1">
                    <a:lumMod val="10000"/>
                  </a:schemeClr>
                </a:solidFill>
              </a:defRPr>
            </a:lvl4pPr>
            <a:lvl5pPr marL="2057400" indent="-228600">
              <a:lnSpc>
                <a:spcPct val="100000"/>
              </a:lnSpc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425CA3-E36C-485D-9A09-6AD7960E8BB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5938" y="223246"/>
            <a:ext cx="3625849" cy="18188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3200" b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3200"/>
            </a:lvl2pPr>
            <a:lvl3pPr marL="914400" indent="0">
              <a:buNone/>
              <a:defRPr sz="28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IN"/>
              <a:t>Click to add headline her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5A5A2DE-591E-4932-BA85-10E43778341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5938" y="2085475"/>
            <a:ext cx="3625849" cy="115037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685800" indent="-228600">
              <a:lnSpc>
                <a:spcPct val="100000"/>
              </a:lnSpc>
              <a:buFont typeface="Wingdings" panose="05000000000000000000" pitchFamily="2" charset="2"/>
              <a:buChar char="§"/>
              <a:defRPr/>
            </a:lvl2pPr>
            <a:lvl3pPr marL="1143000" indent="-228600">
              <a:lnSpc>
                <a:spcPct val="100000"/>
              </a:lnSpc>
              <a:buFont typeface="Wingdings" panose="05000000000000000000" pitchFamily="2" charset="2"/>
              <a:buChar char="§"/>
              <a:defRPr/>
            </a:lvl3pPr>
            <a:lvl4pPr marL="1600200" indent="-228600">
              <a:lnSpc>
                <a:spcPct val="100000"/>
              </a:lnSpc>
              <a:buFont typeface="Wingdings" panose="05000000000000000000" pitchFamily="2" charset="2"/>
              <a:buChar char="§"/>
              <a:defRPr/>
            </a:lvl4pPr>
            <a:lvl5pPr marL="2057400" indent="-228600">
              <a:lnSpc>
                <a:spcPct val="100000"/>
              </a:lnSpc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/>
              <a:t>Your subhead line will go he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1F65D37-07B3-4B0F-8DD4-C1548AD81FE9}"/>
              </a:ext>
            </a:extLst>
          </p:cNvPr>
          <p:cNvSpPr txBox="1"/>
          <p:nvPr userDrawn="1"/>
        </p:nvSpPr>
        <p:spPr>
          <a:xfrm>
            <a:off x="11257833" y="6478546"/>
            <a:ext cx="50967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444FD5-7869-469B-9482-6C5A8EF3AA37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30388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Side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0013624-4133-4675-9867-D3F1A96F00A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104063" y="-17253"/>
            <a:ext cx="5087937" cy="6875253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endParaRPr lang="en-IN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BEC3FA0-CD97-4F59-823B-543AE4247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1424" y="196579"/>
            <a:ext cx="5512833" cy="11908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lang="en-IN" sz="32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3200"/>
            </a:lvl2pPr>
            <a:lvl3pPr marL="914400" indent="0">
              <a:buNone/>
              <a:defRPr sz="28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IN"/>
              <a:t>Click to add Headline here, go in max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8E0DE95-BF0D-44E7-BBB1-56CF4981D2A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1423" y="1438090"/>
            <a:ext cx="5512833" cy="9682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685800" indent="-228600">
              <a:lnSpc>
                <a:spcPct val="100000"/>
              </a:lnSpc>
              <a:buFont typeface="Wingdings" panose="05000000000000000000" pitchFamily="2" charset="2"/>
              <a:buChar char="§"/>
              <a:defRPr/>
            </a:lvl2pPr>
            <a:lvl3pPr marL="1143000" indent="-228600">
              <a:lnSpc>
                <a:spcPct val="100000"/>
              </a:lnSpc>
              <a:buFont typeface="Wingdings" panose="05000000000000000000" pitchFamily="2" charset="2"/>
              <a:buChar char="§"/>
              <a:defRPr/>
            </a:lvl3pPr>
            <a:lvl4pPr marL="1600200" indent="-228600">
              <a:lnSpc>
                <a:spcPct val="100000"/>
              </a:lnSpc>
              <a:buFont typeface="Wingdings" panose="05000000000000000000" pitchFamily="2" charset="2"/>
              <a:buChar char="§"/>
              <a:defRPr/>
            </a:lvl4pPr>
            <a:lvl5pPr marL="2057400" indent="-228600">
              <a:lnSpc>
                <a:spcPct val="100000"/>
              </a:lnSpc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/>
              <a:t>Your subhead line will go he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02298B8-E41E-4390-ADFB-F0943D4DAB0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938" y="2418312"/>
            <a:ext cx="5508625" cy="2870133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2000">
                <a:solidFill>
                  <a:schemeClr val="bg1">
                    <a:lumMod val="10000"/>
                  </a:schemeClr>
                </a:solidFill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800">
                <a:solidFill>
                  <a:schemeClr val="bg1">
                    <a:lumMod val="10000"/>
                  </a:schemeClr>
                </a:solidFill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600">
                <a:solidFill>
                  <a:schemeClr val="bg1">
                    <a:lumMod val="10000"/>
                  </a:schemeClr>
                </a:solidFill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>
                <a:solidFill>
                  <a:schemeClr val="bg1">
                    <a:lumMod val="10000"/>
                  </a:schemeClr>
                </a:solidFill>
              </a:defRPr>
            </a:lvl4pPr>
            <a:lvl5pPr marL="2057400" indent="-228600">
              <a:lnSpc>
                <a:spcPct val="100000"/>
              </a:lnSpc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046444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ide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A640AF6-0C22-41A1-A90E-1EA9CD88A9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3559" y="6294604"/>
            <a:ext cx="1382648" cy="261448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0013624-4133-4675-9867-D3F1A96F00A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0" y="-17253"/>
            <a:ext cx="5083175" cy="6875253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endParaRPr lang="en-IN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F6784C1-CD38-4CC3-B585-B4724C8C4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54738" y="188266"/>
            <a:ext cx="5521325" cy="11908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lang="en-IN" sz="32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3200"/>
            </a:lvl2pPr>
            <a:lvl3pPr marL="914400" indent="0">
              <a:buNone/>
              <a:defRPr sz="28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IN"/>
              <a:t>Click to add Headline here, go in max two lin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E59789B-620E-4CCE-874C-84BCEC108DF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154738" y="1546593"/>
            <a:ext cx="5521325" cy="84368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685800" indent="-228600">
              <a:lnSpc>
                <a:spcPct val="100000"/>
              </a:lnSpc>
              <a:buFont typeface="Wingdings" panose="05000000000000000000" pitchFamily="2" charset="2"/>
              <a:buChar char="§"/>
              <a:defRPr/>
            </a:lvl2pPr>
            <a:lvl3pPr marL="1143000" indent="-228600">
              <a:lnSpc>
                <a:spcPct val="100000"/>
              </a:lnSpc>
              <a:buFont typeface="Wingdings" panose="05000000000000000000" pitchFamily="2" charset="2"/>
              <a:buChar char="§"/>
              <a:defRPr/>
            </a:lvl3pPr>
            <a:lvl4pPr marL="1600200" indent="-228600">
              <a:lnSpc>
                <a:spcPct val="100000"/>
              </a:lnSpc>
              <a:buFont typeface="Wingdings" panose="05000000000000000000" pitchFamily="2" charset="2"/>
              <a:buChar char="§"/>
              <a:defRPr/>
            </a:lvl4pPr>
            <a:lvl5pPr marL="2057400" indent="-228600">
              <a:lnSpc>
                <a:spcPct val="100000"/>
              </a:lnSpc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/>
              <a:t>Your subhead line will go he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A62E593-9A85-4C67-8139-4D12929AB28E}"/>
              </a:ext>
            </a:extLst>
          </p:cNvPr>
          <p:cNvSpPr txBox="1"/>
          <p:nvPr userDrawn="1"/>
        </p:nvSpPr>
        <p:spPr>
          <a:xfrm>
            <a:off x="11257833" y="6478546"/>
            <a:ext cx="50967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444FD5-7869-469B-9482-6C5A8EF3AA37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1934F47-D797-4FC5-8132-F90E69A2AB8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54738" y="2424939"/>
            <a:ext cx="5521324" cy="2870133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Font typeface="Wingdings" panose="05000000000000000000" pitchFamily="2" charset="2"/>
              <a:buChar char="§"/>
              <a:defRPr sz="2000">
                <a:solidFill>
                  <a:schemeClr val="bg1">
                    <a:lumMod val="10000"/>
                  </a:schemeClr>
                </a:solidFill>
              </a:defRPr>
            </a:lvl1pPr>
            <a:lvl2pPr marL="685800" indent="-228600">
              <a:lnSpc>
                <a:spcPct val="100000"/>
              </a:lnSpc>
              <a:buFont typeface="Wingdings" panose="05000000000000000000" pitchFamily="2" charset="2"/>
              <a:buChar char="§"/>
              <a:defRPr sz="1800">
                <a:solidFill>
                  <a:schemeClr val="bg1">
                    <a:lumMod val="10000"/>
                  </a:schemeClr>
                </a:solidFill>
              </a:defRPr>
            </a:lvl2pPr>
            <a:lvl3pPr marL="1143000" indent="-228600">
              <a:lnSpc>
                <a:spcPct val="100000"/>
              </a:lnSpc>
              <a:buFont typeface="Wingdings" panose="05000000000000000000" pitchFamily="2" charset="2"/>
              <a:buChar char="§"/>
              <a:defRPr sz="1600">
                <a:solidFill>
                  <a:schemeClr val="bg1">
                    <a:lumMod val="10000"/>
                  </a:schemeClr>
                </a:solidFill>
              </a:defRPr>
            </a:lvl3pPr>
            <a:lvl4pPr marL="1600200" indent="-228600">
              <a:lnSpc>
                <a:spcPct val="100000"/>
              </a:lnSpc>
              <a:buFont typeface="Wingdings" panose="05000000000000000000" pitchFamily="2" charset="2"/>
              <a:buChar char="§"/>
              <a:defRPr sz="1400">
                <a:solidFill>
                  <a:schemeClr val="bg1">
                    <a:lumMod val="10000"/>
                  </a:schemeClr>
                </a:solidFill>
              </a:defRPr>
            </a:lvl4pPr>
            <a:lvl5pPr marL="2057400" indent="-228600">
              <a:lnSpc>
                <a:spcPct val="100000"/>
              </a:lnSpc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187047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 with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1E003A0-BD34-4831-AD04-3BBDF86DBD8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F437ABB6-146B-425F-82F9-7536990598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938" y="6455544"/>
            <a:ext cx="1382648" cy="26144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B29D293-E2A3-487D-A2DE-EAB7373F3CD8}"/>
              </a:ext>
            </a:extLst>
          </p:cNvPr>
          <p:cNvSpPr txBox="1"/>
          <p:nvPr userDrawn="1"/>
        </p:nvSpPr>
        <p:spPr>
          <a:xfrm>
            <a:off x="11257833" y="6478546"/>
            <a:ext cx="50967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444FD5-7869-469B-9482-6C5A8EF3AA37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FED157A-7778-4B87-B734-E93B23ED5E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234468"/>
            <a:ext cx="11160000" cy="5438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3200" b="0">
                <a:solidFill>
                  <a:schemeClr val="bg2"/>
                </a:solidFill>
                <a:latin typeface="+mj-lt"/>
              </a:defRPr>
            </a:lvl1pPr>
            <a:lvl2pPr marL="457200" indent="0">
              <a:buNone/>
              <a:defRPr sz="3200"/>
            </a:lvl2pPr>
            <a:lvl3pPr marL="914400" indent="0">
              <a:buNone/>
              <a:defRPr sz="28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IN"/>
              <a:t>Click to add headline her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025CCFF-758D-4956-8CB2-6A3FDE8502C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5938" y="788041"/>
            <a:ext cx="11160124" cy="50305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685800" indent="-228600">
              <a:lnSpc>
                <a:spcPct val="100000"/>
              </a:lnSpc>
              <a:buFont typeface="Wingdings" panose="05000000000000000000" pitchFamily="2" charset="2"/>
              <a:buChar char="§"/>
              <a:defRPr/>
            </a:lvl2pPr>
            <a:lvl3pPr marL="1143000" indent="-228600">
              <a:lnSpc>
                <a:spcPct val="100000"/>
              </a:lnSpc>
              <a:buFont typeface="Wingdings" panose="05000000000000000000" pitchFamily="2" charset="2"/>
              <a:buChar char="§"/>
              <a:defRPr/>
            </a:lvl3pPr>
            <a:lvl4pPr marL="1600200" indent="-228600">
              <a:lnSpc>
                <a:spcPct val="100000"/>
              </a:lnSpc>
              <a:buFont typeface="Wingdings" panose="05000000000000000000" pitchFamily="2" charset="2"/>
              <a:buChar char="§"/>
              <a:defRPr/>
            </a:lvl4pPr>
            <a:lvl5pPr marL="2057400" indent="-228600">
              <a:lnSpc>
                <a:spcPct val="100000"/>
              </a:lnSpc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/>
              <a:t>Your subhead line will go he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14ED630-69E7-4343-92B0-89CD239BE2D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938" y="1348954"/>
            <a:ext cx="11160125" cy="4839613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2000">
                <a:solidFill>
                  <a:schemeClr val="bg2"/>
                </a:solidFill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800">
                <a:solidFill>
                  <a:schemeClr val="bg1">
                    <a:lumMod val="10000"/>
                  </a:schemeClr>
                </a:solidFill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600">
                <a:solidFill>
                  <a:schemeClr val="bg1">
                    <a:lumMod val="10000"/>
                  </a:schemeClr>
                </a:solidFill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>
                <a:solidFill>
                  <a:schemeClr val="bg1">
                    <a:lumMod val="10000"/>
                  </a:schemeClr>
                </a:solidFill>
              </a:defRPr>
            </a:lvl4pPr>
            <a:lvl5pPr marL="2057400" indent="-228600">
              <a:lnSpc>
                <a:spcPct val="100000"/>
              </a:lnSpc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783167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Slide with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1E003A0-BD34-4831-AD04-3BBDF86DBD8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F437ABB6-146B-425F-82F9-7536990598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938" y="6455544"/>
            <a:ext cx="1382648" cy="26144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B29D293-E2A3-487D-A2DE-EAB7373F3CD8}"/>
              </a:ext>
            </a:extLst>
          </p:cNvPr>
          <p:cNvSpPr txBox="1"/>
          <p:nvPr userDrawn="1"/>
        </p:nvSpPr>
        <p:spPr>
          <a:xfrm>
            <a:off x="11257833" y="6478546"/>
            <a:ext cx="50967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444FD5-7869-469B-9482-6C5A8EF3AA37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44343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with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FB29D293-E2A3-487D-A2DE-EAB7373F3CD8}"/>
              </a:ext>
            </a:extLst>
          </p:cNvPr>
          <p:cNvSpPr txBox="1"/>
          <p:nvPr userDrawn="1"/>
        </p:nvSpPr>
        <p:spPr>
          <a:xfrm>
            <a:off x="11257833" y="6478546"/>
            <a:ext cx="50967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444FD5-7869-469B-9482-6C5A8EF3AA37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5C65599-E113-4FBA-AD28-F94D3F81CA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234468"/>
            <a:ext cx="11160000" cy="5438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3200" b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3200"/>
            </a:lvl2pPr>
            <a:lvl3pPr marL="914400" indent="0">
              <a:buNone/>
              <a:defRPr sz="28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IN"/>
              <a:t>Click to add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991426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F8DEBA-F48A-FE8F-FC43-AD58C69657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DF636F-4DE6-7D64-AB9B-AAAA6B1FC8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E3FA95-63D0-2F83-9A37-B4EAE20EE6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FCE99-28CB-4576-814E-CB492032E247}" type="datetimeFigureOut">
              <a:rPr lang="en-SG" smtClean="0"/>
              <a:t>30/3/2024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AE0398-EB0C-3492-D082-A81C464C01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5F34F9-9C16-DCE6-58E0-50D4800E12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4B9B-1019-4B78-8534-19D0CE742A2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1009774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Slide with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phic 18">
            <a:extLst>
              <a:ext uri="{FF2B5EF4-FFF2-40B4-BE49-F238E27FC236}">
                <a16:creationId xmlns:a16="http://schemas.microsoft.com/office/drawing/2014/main" id="{F437ABB6-146B-425F-82F9-7536990598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938" y="6455544"/>
            <a:ext cx="1382648" cy="26144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B29D293-E2A3-487D-A2DE-EAB7373F3CD8}"/>
              </a:ext>
            </a:extLst>
          </p:cNvPr>
          <p:cNvSpPr txBox="1"/>
          <p:nvPr userDrawn="1"/>
        </p:nvSpPr>
        <p:spPr>
          <a:xfrm>
            <a:off x="11257833" y="6478546"/>
            <a:ext cx="50967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444FD5-7869-469B-9482-6C5A8EF3AA37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0586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without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6657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11529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49B890-F5AE-1890-033A-F3A0649276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810C63-80A5-7C3E-A3DB-454F289DAC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3D0339-29DA-526A-27EF-AB514EB15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FCE99-28CB-4576-814E-CB492032E247}" type="datetimeFigureOut">
              <a:rPr lang="en-SG" smtClean="0"/>
              <a:t>30/3/2024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C4EDC9-ACF6-0B26-502A-80208C523F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1CCB14-7D52-FF3A-13D4-E98E9E4609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4B9B-1019-4B78-8534-19D0CE742A2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1707059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EEBC56-E787-0596-3B03-3BA0D58DF7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1E2F12-4C1F-6081-8C7F-D16B0D51BA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19209A-A0FA-9806-00A2-58F5ABA9F8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1E3A54-1CF5-2F77-D361-05B3EABC8F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FCE99-28CB-4576-814E-CB492032E247}" type="datetimeFigureOut">
              <a:rPr lang="en-SG" smtClean="0"/>
              <a:t>30/3/2024</a:t>
            </a:fld>
            <a:endParaRPr lang="en-SG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DB59F9-813D-2933-B754-F41478F411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4A8F50-3376-B592-B2A3-F23220FFDE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4B9B-1019-4B78-8534-19D0CE742A2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2145731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EE528-BC0F-49E2-2BFF-5014BFFF2D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8408E4-A7F0-C61C-C831-DF4F4BCBC3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3554E59-121D-56F4-A35C-470393384F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76BB4F-704B-92FA-933C-F8B7AC8ABF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1DF199C-1A62-B61F-CFA9-7AE4BBE4AC1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75A123-7640-6A86-03E3-2139926043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FCE99-28CB-4576-814E-CB492032E247}" type="datetimeFigureOut">
              <a:rPr lang="en-SG" smtClean="0"/>
              <a:t>30/3/2024</a:t>
            </a:fld>
            <a:endParaRPr lang="en-SG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E2DC486-18BC-2E49-5B87-EDDC2BB66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946150-EDE9-E00A-DAEB-983DFA566E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4B9B-1019-4B78-8534-19D0CE742A2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7582882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458CD9-965D-64FE-56E0-78B015F2BE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8A865E9-2961-790A-519A-8F19F4F58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FCE99-28CB-4576-814E-CB492032E247}" type="datetimeFigureOut">
              <a:rPr lang="en-SG" smtClean="0"/>
              <a:t>30/3/2024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997F6E-39E6-68D1-A957-E543DB3959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EFBF07-ABA2-15EB-B1AF-82E82B7A3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4B9B-1019-4B78-8534-19D0CE742A2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4795667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D1C3B5-B393-3375-DC8C-B34550B3AB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FCE99-28CB-4576-814E-CB492032E247}" type="datetimeFigureOut">
              <a:rPr lang="en-SG" smtClean="0"/>
              <a:t>30/3/2024</a:t>
            </a:fld>
            <a:endParaRPr lang="en-SG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7A4F2D-5CD0-92FA-A4C7-5DA2DFC374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72B843-B5D0-EBF4-F40B-5508CA754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4B9B-1019-4B78-8534-19D0CE742A2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282355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2308E0-7F8A-88DD-6011-69C2CCB1EC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99FD6B-BD9D-1195-6702-B04186E2D2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529B8C-9DDD-5D6A-0E59-CC81BF286F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907F708-E73A-5357-D44E-AC342EF759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FCE99-28CB-4576-814E-CB492032E247}" type="datetimeFigureOut">
              <a:rPr lang="en-SG" smtClean="0"/>
              <a:t>30/3/2024</a:t>
            </a:fld>
            <a:endParaRPr lang="en-SG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983F04-61C3-4625-5727-E163674456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CFD1A6C-8566-7DCF-F2AB-91B02E4FEB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4B9B-1019-4B78-8534-19D0CE742A2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258899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9E846-F4F0-4B65-1628-E4DA0B716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6A315-D379-70BD-A5EE-518CE998525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SG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36B35F-E911-1365-2B5B-59D9AE31A2E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773866-E58D-DD22-EFF8-6013EE1140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FCE99-28CB-4576-814E-CB492032E247}" type="datetimeFigureOut">
              <a:rPr lang="en-SG" smtClean="0"/>
              <a:t>30/3/2024</a:t>
            </a:fld>
            <a:endParaRPr lang="en-SG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F0A52B-9EE9-E1DE-C6A4-299F22657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1B920-29F5-C6E4-1553-BF408DB72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4B9B-1019-4B78-8534-19D0CE742A2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6948062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B2E03C5-C198-1167-A1A5-525A1DF633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4170DF-DAA4-4393-D7E7-025AE7989F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66A426-4DB9-FF70-D894-FEE3501838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AFCE99-28CB-4576-814E-CB492032E247}" type="datetimeFigureOut">
              <a:rPr lang="en-SG" smtClean="0"/>
              <a:t>30/3/2024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FED138-A73F-0068-80E8-269F2FD56C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B492F1-2CED-FD1C-09D2-64D61A610B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4D4B9B-1019-4B78-8534-19D0CE742A2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125558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7037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25">
          <p15:clr>
            <a:srgbClr val="F26B43"/>
          </p15:clr>
        </p15:guide>
        <p15:guide id="4" pos="831">
          <p15:clr>
            <a:srgbClr val="F26B43"/>
          </p15:clr>
        </p15:guide>
        <p15:guide id="5" pos="914">
          <p15:clr>
            <a:srgbClr val="F26B43"/>
          </p15:clr>
        </p15:guide>
        <p15:guide id="6" pos="1424">
          <p15:clr>
            <a:srgbClr val="F26B43"/>
          </p15:clr>
        </p15:guide>
        <p15:guide id="7" pos="1505">
          <p15:clr>
            <a:srgbClr val="F26B43"/>
          </p15:clr>
        </p15:guide>
        <p15:guide id="8" pos="2016">
          <p15:clr>
            <a:srgbClr val="F26B43"/>
          </p15:clr>
        </p15:guide>
        <p15:guide id="9" pos="2098">
          <p15:clr>
            <a:srgbClr val="F26B43"/>
          </p15:clr>
        </p15:guide>
        <p15:guide id="10" pos="2609">
          <p15:clr>
            <a:srgbClr val="F26B43"/>
          </p15:clr>
        </p15:guide>
        <p15:guide id="11" pos="2695">
          <p15:clr>
            <a:srgbClr val="F26B43"/>
          </p15:clr>
        </p15:guide>
        <p15:guide id="12" pos="3202">
          <p15:clr>
            <a:srgbClr val="F26B43"/>
          </p15:clr>
        </p15:guide>
        <p15:guide id="13" pos="3284">
          <p15:clr>
            <a:srgbClr val="F26B43"/>
          </p15:clr>
        </p15:guide>
        <p15:guide id="14" pos="3795">
          <p15:clr>
            <a:srgbClr val="F26B43"/>
          </p15:clr>
        </p15:guide>
        <p15:guide id="15" pos="3877">
          <p15:clr>
            <a:srgbClr val="F26B43"/>
          </p15:clr>
        </p15:guide>
        <p15:guide id="16" pos="4389">
          <p15:clr>
            <a:srgbClr val="F26B43"/>
          </p15:clr>
        </p15:guide>
        <p15:guide id="17" pos="4475">
          <p15:clr>
            <a:srgbClr val="F26B43"/>
          </p15:clr>
        </p15:guide>
        <p15:guide id="18" pos="4982">
          <p15:clr>
            <a:srgbClr val="F26B43"/>
          </p15:clr>
        </p15:guide>
        <p15:guide id="19" pos="5064">
          <p15:clr>
            <a:srgbClr val="F26B43"/>
          </p15:clr>
        </p15:guide>
        <p15:guide id="20" pos="5575">
          <p15:clr>
            <a:srgbClr val="F26B43"/>
          </p15:clr>
        </p15:guide>
        <p15:guide id="21" pos="5661">
          <p15:clr>
            <a:srgbClr val="F26B43"/>
          </p15:clr>
        </p15:guide>
        <p15:guide id="22" pos="6168">
          <p15:clr>
            <a:srgbClr val="F26B43"/>
          </p15:clr>
        </p15:guide>
        <p15:guide id="23" pos="6254">
          <p15:clr>
            <a:srgbClr val="F26B43"/>
          </p15:clr>
        </p15:guide>
        <p15:guide id="24" pos="6766">
          <p15:clr>
            <a:srgbClr val="F26B43"/>
          </p15:clr>
        </p15:guide>
        <p15:guide id="25" pos="6848">
          <p15:clr>
            <a:srgbClr val="F26B43"/>
          </p15:clr>
        </p15:guide>
        <p15:guide id="26" pos="7355">
          <p15:clr>
            <a:srgbClr val="F26B43"/>
          </p15:clr>
        </p15:guide>
        <p15:guide id="31" orient="horz" pos="3215">
          <p15:clr>
            <a:srgbClr val="F26B43"/>
          </p15:clr>
        </p15:guide>
        <p15:guide id="35" orient="horz" pos="1690">
          <p15:clr>
            <a:srgbClr val="F26B43"/>
          </p15:clr>
        </p15:guide>
        <p15:guide id="49" orient="horz" pos="1097">
          <p15:clr>
            <a:srgbClr val="F26B43"/>
          </p15:clr>
        </p15:guide>
        <p15:guide id="50" orient="horz" pos="1607">
          <p15:clr>
            <a:srgbClr val="F26B43"/>
          </p15:clr>
        </p15:guide>
        <p15:guide id="51" orient="horz" pos="1179">
          <p15:clr>
            <a:srgbClr val="F26B43"/>
          </p15:clr>
        </p15:guide>
        <p15:guide id="52" orient="horz" pos="2117">
          <p15:clr>
            <a:srgbClr val="F26B43"/>
          </p15:clr>
        </p15:guide>
        <p15:guide id="53" orient="horz" pos="2200">
          <p15:clr>
            <a:srgbClr val="F26B43"/>
          </p15:clr>
        </p15:guide>
        <p15:guide id="54" orient="horz" pos="2704">
          <p15:clr>
            <a:srgbClr val="F26B43"/>
          </p15:clr>
        </p15:guide>
        <p15:guide id="55" orient="horz" pos="2622">
          <p15:clr>
            <a:srgbClr val="F26B43"/>
          </p15:clr>
        </p15:guide>
        <p15:guide id="57" orient="horz" pos="3132">
          <p15:clr>
            <a:srgbClr val="F26B43"/>
          </p15:clr>
        </p15:guide>
        <p15:guide id="58" orient="horz" pos="3643">
          <p15:clr>
            <a:srgbClr val="F26B43"/>
          </p15:clr>
        </p15:guide>
        <p15:guide id="59" orient="horz" pos="3725">
          <p15:clr>
            <a:srgbClr val="F26B43"/>
          </p15:clr>
        </p15:guide>
        <p15:guide id="60" orient="horz" pos="4153">
          <p15:clr>
            <a:srgbClr val="F26B43"/>
          </p15:clr>
        </p15:guide>
        <p15:guide id="61" orient="horz" pos="164">
          <p15:clr>
            <a:srgbClr val="F26B43"/>
          </p15:clr>
        </p15:guide>
        <p15:guide id="62" orient="horz" pos="587">
          <p15:clr>
            <a:srgbClr val="F26B43"/>
          </p15:clr>
        </p15:guide>
        <p15:guide id="63" orient="horz" pos="66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3.png"/><Relationship Id="rId18" Type="http://schemas.openxmlformats.org/officeDocument/2006/relationships/image" Target="../media/image17.png"/><Relationship Id="rId3" Type="http://schemas.openxmlformats.org/officeDocument/2006/relationships/image" Target="../media/image6.png"/><Relationship Id="rId7" Type="http://schemas.microsoft.com/office/2007/relationships/hdphoto" Target="../media/hdphoto1.wdp"/><Relationship Id="rId12" Type="http://schemas.microsoft.com/office/2007/relationships/hdphoto" Target="../media/hdphoto3.wdp"/><Relationship Id="rId17" Type="http://schemas.openxmlformats.org/officeDocument/2006/relationships/image" Target="../media/image16.png"/><Relationship Id="rId2" Type="http://schemas.openxmlformats.org/officeDocument/2006/relationships/image" Target="../media/image5.png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9.png"/><Relationship Id="rId11" Type="http://schemas.openxmlformats.org/officeDocument/2006/relationships/image" Target="../media/image12.png"/><Relationship Id="rId5" Type="http://schemas.openxmlformats.org/officeDocument/2006/relationships/image" Target="../media/image8.png"/><Relationship Id="rId15" Type="http://schemas.openxmlformats.org/officeDocument/2006/relationships/image" Target="../media/image14.png"/><Relationship Id="rId10" Type="http://schemas.microsoft.com/office/2007/relationships/hdphoto" Target="../media/hdphoto2.wdp"/><Relationship Id="rId19" Type="http://schemas.openxmlformats.org/officeDocument/2006/relationships/image" Target="../media/image18.png"/><Relationship Id="rId4" Type="http://schemas.openxmlformats.org/officeDocument/2006/relationships/image" Target="../media/image7.png"/><Relationship Id="rId9" Type="http://schemas.openxmlformats.org/officeDocument/2006/relationships/image" Target="../media/image11.png"/><Relationship Id="rId14" Type="http://schemas.microsoft.com/office/2007/relationships/hdphoto" Target="../media/hdphoto4.wdp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2E2AB32-F299-4544-9E27-02B3F461206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IN"/>
              <a:t>Your headline will go here</a:t>
            </a:r>
          </a:p>
          <a:p>
            <a:endParaRPr lang="en-IN"/>
          </a:p>
        </p:txBody>
      </p:sp>
      <p:sp>
        <p:nvSpPr>
          <p:cNvPr id="49" name="Rectangle 48"/>
          <p:cNvSpPr/>
          <p:nvPr/>
        </p:nvSpPr>
        <p:spPr>
          <a:xfrm>
            <a:off x="5135895" y="3244499"/>
            <a:ext cx="5735305" cy="886653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0" marR="0" lvl="0" indent="0" algn="l" defTabSz="121914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 bold"/>
                <a:ea typeface="+mn-ea"/>
                <a:cs typeface="Calibri" panose="020F0502020204030204" pitchFamily="34" charset="0"/>
              </a:rPr>
              <a:t>Header 3</a:t>
            </a:r>
          </a:p>
          <a:p>
            <a:pPr marL="0" marR="0" lvl="0" indent="0" algn="l" defTabSz="121914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dolor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sit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amet, cum no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doming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vulputate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mediocritatemLorem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ipsum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dolor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sit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amet, cum no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doming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vulputate mediocritatem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5135895" y="2252140"/>
            <a:ext cx="5735305" cy="886653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0" marR="0" lvl="0" indent="0" algn="l" defTabSz="121914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 bold"/>
                <a:ea typeface="+mn-ea"/>
                <a:cs typeface="Calibri" panose="020F0502020204030204" pitchFamily="34" charset="0"/>
              </a:rPr>
              <a:t>Header 2</a:t>
            </a:r>
          </a:p>
          <a:p>
            <a:pPr marL="0" marR="0" lvl="0" indent="0" algn="l" defTabSz="121914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dolor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sit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amet, cum no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doming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vulputate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mediocritatemLorem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ipsum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dolor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sit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amet, cum no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doming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vulputate mediocritatem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5135895" y="1192564"/>
            <a:ext cx="5735305" cy="886653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0" marR="0" lvl="0" indent="0" algn="l" defTabSz="121914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 bold"/>
                <a:ea typeface="+mn-ea"/>
                <a:cs typeface="Calibri" panose="020F0502020204030204" pitchFamily="34" charset="0"/>
              </a:rPr>
              <a:t>Header 1</a:t>
            </a:r>
          </a:p>
          <a:p>
            <a:pPr marL="0" marR="0" lvl="0" indent="0" algn="l" defTabSz="121914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dolor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sit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amet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, cum no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doming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vulputate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mediocritatemLorem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ipsum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dolor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sit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amet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, cum no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doming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vulputate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mediocritatem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5135893" y="4224968"/>
            <a:ext cx="5735307" cy="886653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0" marR="0" lvl="0" indent="0" algn="l" defTabSz="121914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 bold"/>
                <a:ea typeface="+mn-ea"/>
                <a:cs typeface="Calibri" panose="020F0502020204030204" pitchFamily="34" charset="0"/>
              </a:rPr>
              <a:t>Header 4</a:t>
            </a:r>
          </a:p>
          <a:p>
            <a:pPr marL="0" marR="0" lvl="0" indent="0" algn="l" defTabSz="121914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dolor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sit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amet, cum no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doming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vulputate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mediocritatemLorem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ipsum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dolor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sit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amet, cum no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doming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vulputate mediocritatem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5135893" y="5225333"/>
            <a:ext cx="5735307" cy="886653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0" marR="0" lvl="0" indent="0" algn="l" defTabSz="121914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 bold"/>
                <a:ea typeface="+mn-ea"/>
                <a:cs typeface="Calibri" panose="020F0502020204030204" pitchFamily="34" charset="0"/>
              </a:rPr>
              <a:t>Header 5</a:t>
            </a:r>
          </a:p>
          <a:p>
            <a:pPr marL="0" marR="0" lvl="0" indent="0" algn="l" defTabSz="121914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dolor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sit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amet, cum no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doming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vulputate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mediocritatemLorem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ipsum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dolor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sit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amet, cum no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doming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vulputate mediocritatem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2472188" y="4220652"/>
            <a:ext cx="2410749" cy="950976"/>
            <a:chOff x="1854141" y="3165489"/>
            <a:chExt cx="1808062" cy="713232"/>
          </a:xfrm>
          <a:solidFill>
            <a:srgbClr val="5E7688"/>
          </a:solidFill>
        </p:grpSpPr>
        <p:cxnSp>
          <p:nvCxnSpPr>
            <p:cNvPr id="41" name="Straight Connector 40"/>
            <p:cNvCxnSpPr/>
            <p:nvPr/>
          </p:nvCxnSpPr>
          <p:spPr>
            <a:xfrm>
              <a:off x="1854141" y="3495744"/>
              <a:ext cx="1164448" cy="0"/>
            </a:xfrm>
            <a:prstGeom prst="line">
              <a:avLst/>
            </a:prstGeom>
            <a:grpFill/>
            <a:ln w="63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Oval 12"/>
            <p:cNvSpPr>
              <a:spLocks noChangeArrowheads="1"/>
            </p:cNvSpPr>
            <p:nvPr/>
          </p:nvSpPr>
          <p:spPr bwMode="auto">
            <a:xfrm>
              <a:off x="2948971" y="3165489"/>
              <a:ext cx="713232" cy="713232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2772749" y="1192564"/>
            <a:ext cx="2145679" cy="950976"/>
            <a:chOff x="2079561" y="894423"/>
            <a:chExt cx="1609259" cy="713232"/>
          </a:xfrm>
          <a:solidFill>
            <a:srgbClr val="003C80"/>
          </a:solidFill>
        </p:grpSpPr>
        <p:cxnSp>
          <p:nvCxnSpPr>
            <p:cNvPr id="32" name="Straight Connector 31"/>
            <p:cNvCxnSpPr/>
            <p:nvPr/>
          </p:nvCxnSpPr>
          <p:spPr>
            <a:xfrm>
              <a:off x="2079561" y="1284542"/>
              <a:ext cx="939027" cy="0"/>
            </a:xfrm>
            <a:prstGeom prst="line">
              <a:avLst/>
            </a:prstGeom>
            <a:grpFill/>
            <a:ln w="63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Oval 12"/>
            <p:cNvSpPr>
              <a:spLocks noChangeArrowheads="1"/>
            </p:cNvSpPr>
            <p:nvPr/>
          </p:nvSpPr>
          <p:spPr bwMode="auto">
            <a:xfrm>
              <a:off x="2975588" y="894423"/>
              <a:ext cx="713232" cy="713232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749203" y="5230016"/>
            <a:ext cx="2133735" cy="950976"/>
            <a:chOff x="2061902" y="3922512"/>
            <a:chExt cx="1600301" cy="713232"/>
          </a:xfrm>
          <a:solidFill>
            <a:srgbClr val="B6C2CB"/>
          </a:solidFill>
        </p:grpSpPr>
        <p:cxnSp>
          <p:nvCxnSpPr>
            <p:cNvPr id="23" name="Straight Connector 22"/>
            <p:cNvCxnSpPr>
              <a:stCxn id="5" idx="21"/>
            </p:cNvCxnSpPr>
            <p:nvPr/>
          </p:nvCxnSpPr>
          <p:spPr>
            <a:xfrm>
              <a:off x="2061902" y="4171358"/>
              <a:ext cx="956688" cy="7985"/>
            </a:xfrm>
            <a:prstGeom prst="line">
              <a:avLst/>
            </a:prstGeom>
            <a:grpFill/>
            <a:ln w="63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Oval 12"/>
            <p:cNvSpPr>
              <a:spLocks noChangeArrowheads="1"/>
            </p:cNvSpPr>
            <p:nvPr/>
          </p:nvSpPr>
          <p:spPr bwMode="auto">
            <a:xfrm>
              <a:off x="2948971" y="3922512"/>
              <a:ext cx="713232" cy="713232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3164011" y="2201927"/>
            <a:ext cx="1731076" cy="950976"/>
            <a:chOff x="2373008" y="1651445"/>
            <a:chExt cx="1298307" cy="713232"/>
          </a:xfrm>
          <a:solidFill>
            <a:schemeClr val="accent6"/>
          </a:solidFill>
        </p:grpSpPr>
        <p:cxnSp>
          <p:nvCxnSpPr>
            <p:cNvPr id="37" name="Straight Connector 36"/>
            <p:cNvCxnSpPr/>
            <p:nvPr/>
          </p:nvCxnSpPr>
          <p:spPr>
            <a:xfrm flipV="1">
              <a:off x="2373008" y="2047923"/>
              <a:ext cx="645569" cy="0"/>
            </a:xfrm>
            <a:prstGeom prst="line">
              <a:avLst/>
            </a:prstGeom>
            <a:grpFill/>
            <a:ln w="63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Oval 12"/>
            <p:cNvSpPr>
              <a:spLocks noChangeArrowheads="1"/>
            </p:cNvSpPr>
            <p:nvPr/>
          </p:nvSpPr>
          <p:spPr bwMode="auto">
            <a:xfrm>
              <a:off x="2958083" y="1651445"/>
              <a:ext cx="713232" cy="713232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164011" y="3211289"/>
            <a:ext cx="1739363" cy="950976"/>
            <a:chOff x="2373008" y="2408467"/>
            <a:chExt cx="1304522" cy="713232"/>
          </a:xfrm>
          <a:solidFill>
            <a:srgbClr val="0059C0"/>
          </a:solidFill>
        </p:grpSpPr>
        <p:cxnSp>
          <p:nvCxnSpPr>
            <p:cNvPr id="39" name="Straight Connector 38"/>
            <p:cNvCxnSpPr/>
            <p:nvPr/>
          </p:nvCxnSpPr>
          <p:spPr>
            <a:xfrm>
              <a:off x="2373008" y="2802389"/>
              <a:ext cx="645580" cy="0"/>
            </a:xfrm>
            <a:prstGeom prst="line">
              <a:avLst/>
            </a:prstGeom>
            <a:grpFill/>
            <a:ln w="63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Oval 12"/>
            <p:cNvSpPr>
              <a:spLocks noChangeArrowheads="1"/>
            </p:cNvSpPr>
            <p:nvPr/>
          </p:nvSpPr>
          <p:spPr bwMode="auto">
            <a:xfrm>
              <a:off x="2964298" y="2408467"/>
              <a:ext cx="713232" cy="713232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5" name="Freeform 6"/>
          <p:cNvSpPr>
            <a:spLocks/>
          </p:cNvSpPr>
          <p:nvPr/>
        </p:nvSpPr>
        <p:spPr bwMode="auto">
          <a:xfrm>
            <a:off x="1543647" y="5006448"/>
            <a:ext cx="1205556" cy="988051"/>
          </a:xfrm>
          <a:custGeom>
            <a:avLst/>
            <a:gdLst>
              <a:gd name="T0" fmla="*/ 1775 w 1775"/>
              <a:gd name="T1" fmla="*/ 272 h 1788"/>
              <a:gd name="T2" fmla="*/ 1775 w 1775"/>
              <a:gd name="T3" fmla="*/ 272 h 1788"/>
              <a:gd name="T4" fmla="*/ 1775 w 1775"/>
              <a:gd name="T5" fmla="*/ 53 h 1788"/>
              <a:gd name="T6" fmla="*/ 1723 w 1775"/>
              <a:gd name="T7" fmla="*/ 0 h 1788"/>
              <a:gd name="T8" fmla="*/ 52 w 1775"/>
              <a:gd name="T9" fmla="*/ 0 h 1788"/>
              <a:gd name="T10" fmla="*/ 0 w 1775"/>
              <a:gd name="T11" fmla="*/ 53 h 1788"/>
              <a:gd name="T12" fmla="*/ 0 w 1775"/>
              <a:gd name="T13" fmla="*/ 342 h 1788"/>
              <a:gd name="T14" fmla="*/ 80 w 1775"/>
              <a:gd name="T15" fmla="*/ 466 h 1788"/>
              <a:gd name="T16" fmla="*/ 0 w 1775"/>
              <a:gd name="T17" fmla="*/ 584 h 1788"/>
              <a:gd name="T18" fmla="*/ 80 w 1775"/>
              <a:gd name="T19" fmla="*/ 711 h 1788"/>
              <a:gd name="T20" fmla="*/ 0 w 1775"/>
              <a:gd name="T21" fmla="*/ 822 h 1788"/>
              <a:gd name="T22" fmla="*/ 80 w 1775"/>
              <a:gd name="T23" fmla="*/ 964 h 1788"/>
              <a:gd name="T24" fmla="*/ 0 w 1775"/>
              <a:gd name="T25" fmla="*/ 1076 h 1788"/>
              <a:gd name="T26" fmla="*/ 80 w 1775"/>
              <a:gd name="T27" fmla="*/ 1209 h 1788"/>
              <a:gd name="T28" fmla="*/ 80 w 1775"/>
              <a:gd name="T29" fmla="*/ 1303 h 1788"/>
              <a:gd name="T30" fmla="*/ 581 w 1775"/>
              <a:gd name="T31" fmla="*/ 1745 h 1788"/>
              <a:gd name="T32" fmla="*/ 693 w 1775"/>
              <a:gd name="T33" fmla="*/ 1788 h 1788"/>
              <a:gd name="T34" fmla="*/ 1086 w 1775"/>
              <a:gd name="T35" fmla="*/ 1788 h 1788"/>
              <a:gd name="T36" fmla="*/ 1198 w 1775"/>
              <a:gd name="T37" fmla="*/ 1745 h 1788"/>
              <a:gd name="T38" fmla="*/ 1695 w 1775"/>
              <a:gd name="T39" fmla="*/ 1303 h 1788"/>
              <a:gd name="T40" fmla="*/ 1695 w 1775"/>
              <a:gd name="T41" fmla="*/ 1139 h 1788"/>
              <a:gd name="T42" fmla="*/ 1775 w 1775"/>
              <a:gd name="T43" fmla="*/ 1005 h 1788"/>
              <a:gd name="T44" fmla="*/ 1695 w 1775"/>
              <a:gd name="T45" fmla="*/ 894 h 1788"/>
              <a:gd name="T46" fmla="*/ 1775 w 1775"/>
              <a:gd name="T47" fmla="*/ 752 h 1788"/>
              <a:gd name="T48" fmla="*/ 1695 w 1775"/>
              <a:gd name="T49" fmla="*/ 641 h 1788"/>
              <a:gd name="T50" fmla="*/ 1775 w 1775"/>
              <a:gd name="T51" fmla="*/ 514 h 1788"/>
              <a:gd name="T52" fmla="*/ 1695 w 1775"/>
              <a:gd name="T53" fmla="*/ 396 h 1788"/>
              <a:gd name="T54" fmla="*/ 1775 w 1775"/>
              <a:gd name="T55" fmla="*/ 272 h 1788"/>
              <a:gd name="T56" fmla="*/ 1775 w 1775"/>
              <a:gd name="T57" fmla="*/ 272 h 1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775" h="1788">
                <a:moveTo>
                  <a:pt x="1775" y="272"/>
                </a:moveTo>
                <a:lnTo>
                  <a:pt x="1775" y="272"/>
                </a:lnTo>
                <a:lnTo>
                  <a:pt x="1775" y="53"/>
                </a:lnTo>
                <a:cubicBezTo>
                  <a:pt x="1775" y="24"/>
                  <a:pt x="1752" y="0"/>
                  <a:pt x="1723" y="0"/>
                </a:cubicBezTo>
                <a:lnTo>
                  <a:pt x="52" y="0"/>
                </a:lnTo>
                <a:cubicBezTo>
                  <a:pt x="23" y="0"/>
                  <a:pt x="0" y="24"/>
                  <a:pt x="0" y="53"/>
                </a:cubicBezTo>
                <a:lnTo>
                  <a:pt x="0" y="342"/>
                </a:lnTo>
                <a:cubicBezTo>
                  <a:pt x="0" y="386"/>
                  <a:pt x="80" y="409"/>
                  <a:pt x="80" y="466"/>
                </a:cubicBezTo>
                <a:cubicBezTo>
                  <a:pt x="80" y="523"/>
                  <a:pt x="0" y="523"/>
                  <a:pt x="0" y="584"/>
                </a:cubicBezTo>
                <a:cubicBezTo>
                  <a:pt x="0" y="645"/>
                  <a:pt x="80" y="639"/>
                  <a:pt x="80" y="711"/>
                </a:cubicBezTo>
                <a:cubicBezTo>
                  <a:pt x="80" y="783"/>
                  <a:pt x="0" y="757"/>
                  <a:pt x="0" y="822"/>
                </a:cubicBezTo>
                <a:cubicBezTo>
                  <a:pt x="0" y="888"/>
                  <a:pt x="80" y="892"/>
                  <a:pt x="80" y="964"/>
                </a:cubicBezTo>
                <a:cubicBezTo>
                  <a:pt x="80" y="1036"/>
                  <a:pt x="0" y="1012"/>
                  <a:pt x="0" y="1076"/>
                </a:cubicBezTo>
                <a:cubicBezTo>
                  <a:pt x="0" y="1139"/>
                  <a:pt x="80" y="1141"/>
                  <a:pt x="80" y="1209"/>
                </a:cubicBezTo>
                <a:lnTo>
                  <a:pt x="80" y="1303"/>
                </a:lnTo>
                <a:lnTo>
                  <a:pt x="581" y="1745"/>
                </a:lnTo>
                <a:cubicBezTo>
                  <a:pt x="612" y="1773"/>
                  <a:pt x="651" y="1788"/>
                  <a:pt x="693" y="1788"/>
                </a:cubicBezTo>
                <a:lnTo>
                  <a:pt x="1086" y="1788"/>
                </a:lnTo>
                <a:cubicBezTo>
                  <a:pt x="1127" y="1788"/>
                  <a:pt x="1167" y="1773"/>
                  <a:pt x="1198" y="1745"/>
                </a:cubicBezTo>
                <a:lnTo>
                  <a:pt x="1695" y="1303"/>
                </a:lnTo>
                <a:lnTo>
                  <a:pt x="1695" y="1139"/>
                </a:lnTo>
                <a:cubicBezTo>
                  <a:pt x="1695" y="1071"/>
                  <a:pt x="1775" y="1069"/>
                  <a:pt x="1775" y="1005"/>
                </a:cubicBezTo>
                <a:cubicBezTo>
                  <a:pt x="1775" y="942"/>
                  <a:pt x="1695" y="966"/>
                  <a:pt x="1695" y="894"/>
                </a:cubicBezTo>
                <a:cubicBezTo>
                  <a:pt x="1695" y="822"/>
                  <a:pt x="1775" y="818"/>
                  <a:pt x="1775" y="752"/>
                </a:cubicBezTo>
                <a:cubicBezTo>
                  <a:pt x="1775" y="687"/>
                  <a:pt x="1695" y="713"/>
                  <a:pt x="1695" y="641"/>
                </a:cubicBezTo>
                <a:cubicBezTo>
                  <a:pt x="1695" y="569"/>
                  <a:pt x="1775" y="575"/>
                  <a:pt x="1775" y="514"/>
                </a:cubicBezTo>
                <a:cubicBezTo>
                  <a:pt x="1775" y="453"/>
                  <a:pt x="1695" y="453"/>
                  <a:pt x="1695" y="396"/>
                </a:cubicBezTo>
                <a:cubicBezTo>
                  <a:pt x="1695" y="339"/>
                  <a:pt x="1775" y="315"/>
                  <a:pt x="1775" y="272"/>
                </a:cubicBezTo>
                <a:lnTo>
                  <a:pt x="1775" y="272"/>
                </a:lnTo>
                <a:close/>
              </a:path>
            </a:pathLst>
          </a:custGeom>
          <a:solidFill>
            <a:srgbClr val="B6C2CB"/>
          </a:solidFill>
          <a:ln w="9525" cap="flat">
            <a:noFill/>
            <a:prstDash val="solid"/>
            <a:miter lim="800000"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4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"/>
                <a:ea typeface="+mn-ea"/>
                <a:cs typeface="Calibri" panose="020F0502020204030204" pitchFamily="34" charset="0"/>
              </a:rPr>
              <a:t>Header 5</a:t>
            </a:r>
          </a:p>
        </p:txBody>
      </p:sp>
      <p:sp>
        <p:nvSpPr>
          <p:cNvPr id="6" name="Freeform 7"/>
          <p:cNvSpPr>
            <a:spLocks/>
          </p:cNvSpPr>
          <p:nvPr/>
        </p:nvSpPr>
        <p:spPr bwMode="auto">
          <a:xfrm>
            <a:off x="760674" y="1220755"/>
            <a:ext cx="2730039" cy="894597"/>
          </a:xfrm>
          <a:custGeom>
            <a:avLst/>
            <a:gdLst>
              <a:gd name="T0" fmla="*/ 4021 w 4021"/>
              <a:gd name="T1" fmla="*/ 1317 h 1317"/>
              <a:gd name="T2" fmla="*/ 4021 w 4021"/>
              <a:gd name="T3" fmla="*/ 1317 h 1317"/>
              <a:gd name="T4" fmla="*/ 2010 w 4021"/>
              <a:gd name="T5" fmla="*/ 0 h 1317"/>
              <a:gd name="T6" fmla="*/ 0 w 4021"/>
              <a:gd name="T7" fmla="*/ 1317 h 1317"/>
              <a:gd name="T8" fmla="*/ 4021 w 4021"/>
              <a:gd name="T9" fmla="*/ 1317 h 13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21" h="1317">
                <a:moveTo>
                  <a:pt x="4021" y="1317"/>
                </a:moveTo>
                <a:lnTo>
                  <a:pt x="4021" y="1317"/>
                </a:lnTo>
                <a:cubicBezTo>
                  <a:pt x="3733" y="492"/>
                  <a:pt x="2960" y="0"/>
                  <a:pt x="2010" y="0"/>
                </a:cubicBezTo>
                <a:cubicBezTo>
                  <a:pt x="1060" y="0"/>
                  <a:pt x="287" y="492"/>
                  <a:pt x="0" y="1317"/>
                </a:cubicBezTo>
                <a:lnTo>
                  <a:pt x="4021" y="1317"/>
                </a:lnTo>
                <a:close/>
              </a:path>
            </a:pathLst>
          </a:custGeom>
          <a:solidFill>
            <a:srgbClr val="003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"/>
                <a:ea typeface="+mn-ea"/>
                <a:cs typeface="Calibri" panose="020F0502020204030204" pitchFamily="34" charset="0"/>
              </a:rPr>
              <a:t>Header 1</a:t>
            </a:r>
          </a:p>
        </p:txBody>
      </p:sp>
      <p:sp>
        <p:nvSpPr>
          <p:cNvPr id="7" name="Freeform 10"/>
          <p:cNvSpPr>
            <a:spLocks/>
          </p:cNvSpPr>
          <p:nvPr/>
        </p:nvSpPr>
        <p:spPr bwMode="auto">
          <a:xfrm>
            <a:off x="679347" y="2182324"/>
            <a:ext cx="2892693" cy="861109"/>
          </a:xfrm>
          <a:custGeom>
            <a:avLst/>
            <a:gdLst>
              <a:gd name="T0" fmla="*/ 0 w 4262"/>
              <a:gd name="T1" fmla="*/ 643 h 1268"/>
              <a:gd name="T2" fmla="*/ 0 w 4262"/>
              <a:gd name="T3" fmla="*/ 643 h 1268"/>
              <a:gd name="T4" fmla="*/ 85 w 4262"/>
              <a:gd name="T5" fmla="*/ 1268 h 1268"/>
              <a:gd name="T6" fmla="*/ 4178 w 4262"/>
              <a:gd name="T7" fmla="*/ 1268 h 1268"/>
              <a:gd name="T8" fmla="*/ 4262 w 4262"/>
              <a:gd name="T9" fmla="*/ 643 h 1268"/>
              <a:gd name="T10" fmla="*/ 4174 w 4262"/>
              <a:gd name="T11" fmla="*/ 0 h 1268"/>
              <a:gd name="T12" fmla="*/ 89 w 4262"/>
              <a:gd name="T13" fmla="*/ 0 h 1268"/>
              <a:gd name="T14" fmla="*/ 0 w 4262"/>
              <a:gd name="T15" fmla="*/ 643 h 1268"/>
              <a:gd name="T16" fmla="*/ 0 w 4262"/>
              <a:gd name="T17" fmla="*/ 643 h 1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62" h="1268">
                <a:moveTo>
                  <a:pt x="0" y="643"/>
                </a:moveTo>
                <a:lnTo>
                  <a:pt x="0" y="643"/>
                </a:lnTo>
                <a:cubicBezTo>
                  <a:pt x="0" y="876"/>
                  <a:pt x="32" y="1082"/>
                  <a:pt x="85" y="1268"/>
                </a:cubicBezTo>
                <a:lnTo>
                  <a:pt x="4178" y="1268"/>
                </a:lnTo>
                <a:cubicBezTo>
                  <a:pt x="4230" y="1082"/>
                  <a:pt x="4262" y="876"/>
                  <a:pt x="4262" y="643"/>
                </a:cubicBezTo>
                <a:cubicBezTo>
                  <a:pt x="4262" y="412"/>
                  <a:pt x="4231" y="198"/>
                  <a:pt x="4174" y="0"/>
                </a:cubicBezTo>
                <a:lnTo>
                  <a:pt x="89" y="0"/>
                </a:lnTo>
                <a:cubicBezTo>
                  <a:pt x="31" y="198"/>
                  <a:pt x="0" y="412"/>
                  <a:pt x="0" y="643"/>
                </a:cubicBezTo>
                <a:lnTo>
                  <a:pt x="0" y="643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 lim="800000"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4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"/>
                <a:ea typeface="+mn-ea"/>
                <a:cs typeface="Calibri" panose="020F0502020204030204" pitchFamily="34" charset="0"/>
              </a:rPr>
              <a:t>Header 2</a:t>
            </a:r>
          </a:p>
        </p:txBody>
      </p:sp>
      <p:sp>
        <p:nvSpPr>
          <p:cNvPr id="8" name="Freeform 12"/>
          <p:cNvSpPr>
            <a:spLocks/>
          </p:cNvSpPr>
          <p:nvPr/>
        </p:nvSpPr>
        <p:spPr bwMode="auto">
          <a:xfrm>
            <a:off x="1229503" y="4040092"/>
            <a:ext cx="1790792" cy="894597"/>
          </a:xfrm>
          <a:custGeom>
            <a:avLst/>
            <a:gdLst>
              <a:gd name="T0" fmla="*/ 0 w 2640"/>
              <a:gd name="T1" fmla="*/ 0 h 1317"/>
              <a:gd name="T2" fmla="*/ 0 w 2640"/>
              <a:gd name="T3" fmla="*/ 0 h 1317"/>
              <a:gd name="T4" fmla="*/ 127 w 2640"/>
              <a:gd name="T5" fmla="*/ 630 h 1317"/>
              <a:gd name="T6" fmla="*/ 610 w 2640"/>
              <a:gd name="T7" fmla="*/ 1317 h 1317"/>
              <a:gd name="T8" fmla="*/ 2030 w 2640"/>
              <a:gd name="T9" fmla="*/ 1317 h 1317"/>
              <a:gd name="T10" fmla="*/ 2513 w 2640"/>
              <a:gd name="T11" fmla="*/ 630 h 1317"/>
              <a:gd name="T12" fmla="*/ 2640 w 2640"/>
              <a:gd name="T13" fmla="*/ 0 h 1317"/>
              <a:gd name="T14" fmla="*/ 0 w 2640"/>
              <a:gd name="T15" fmla="*/ 0 h 1317"/>
              <a:gd name="T16" fmla="*/ 0 w 2640"/>
              <a:gd name="T17" fmla="*/ 0 h 13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640" h="1317">
                <a:moveTo>
                  <a:pt x="0" y="0"/>
                </a:moveTo>
                <a:lnTo>
                  <a:pt x="0" y="0"/>
                </a:lnTo>
                <a:cubicBezTo>
                  <a:pt x="77" y="190"/>
                  <a:pt x="127" y="394"/>
                  <a:pt x="127" y="630"/>
                </a:cubicBezTo>
                <a:cubicBezTo>
                  <a:pt x="127" y="857"/>
                  <a:pt x="340" y="1317"/>
                  <a:pt x="610" y="1317"/>
                </a:cubicBezTo>
                <a:lnTo>
                  <a:pt x="2030" y="1317"/>
                </a:lnTo>
                <a:cubicBezTo>
                  <a:pt x="2300" y="1317"/>
                  <a:pt x="2513" y="857"/>
                  <a:pt x="2513" y="630"/>
                </a:cubicBezTo>
                <a:cubicBezTo>
                  <a:pt x="2513" y="394"/>
                  <a:pt x="2563" y="190"/>
                  <a:pt x="2640" y="0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 lim="800000"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4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"/>
                <a:ea typeface="+mn-ea"/>
                <a:cs typeface="Calibri" panose="020F0502020204030204" pitchFamily="34" charset="0"/>
              </a:rPr>
              <a:t>Header 4</a:t>
            </a:r>
          </a:p>
        </p:txBody>
      </p:sp>
      <p:sp>
        <p:nvSpPr>
          <p:cNvPr id="9" name="Freeform 14"/>
          <p:cNvSpPr>
            <a:spLocks/>
          </p:cNvSpPr>
          <p:nvPr/>
        </p:nvSpPr>
        <p:spPr bwMode="auto">
          <a:xfrm>
            <a:off x="757486" y="3112006"/>
            <a:ext cx="2736417" cy="861109"/>
          </a:xfrm>
          <a:custGeom>
            <a:avLst/>
            <a:gdLst>
              <a:gd name="T0" fmla="*/ 3379 w 4032"/>
              <a:gd name="T1" fmla="*/ 1267 h 1267"/>
              <a:gd name="T2" fmla="*/ 3379 w 4032"/>
              <a:gd name="T3" fmla="*/ 1267 h 1267"/>
              <a:gd name="T4" fmla="*/ 4032 w 4032"/>
              <a:gd name="T5" fmla="*/ 0 h 1267"/>
              <a:gd name="T6" fmla="*/ 0 w 4032"/>
              <a:gd name="T7" fmla="*/ 0 h 1267"/>
              <a:gd name="T8" fmla="*/ 653 w 4032"/>
              <a:gd name="T9" fmla="*/ 1267 h 1267"/>
              <a:gd name="T10" fmla="*/ 3379 w 4032"/>
              <a:gd name="T11" fmla="*/ 1267 h 1267"/>
              <a:gd name="T12" fmla="*/ 3379 w 4032"/>
              <a:gd name="T13" fmla="*/ 1267 h 1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032" h="1267">
                <a:moveTo>
                  <a:pt x="3379" y="1267"/>
                </a:moveTo>
                <a:lnTo>
                  <a:pt x="3379" y="1267"/>
                </a:lnTo>
                <a:cubicBezTo>
                  <a:pt x="3568" y="854"/>
                  <a:pt x="3869" y="495"/>
                  <a:pt x="4032" y="0"/>
                </a:cubicBezTo>
                <a:lnTo>
                  <a:pt x="0" y="0"/>
                </a:lnTo>
                <a:cubicBezTo>
                  <a:pt x="163" y="495"/>
                  <a:pt x="464" y="854"/>
                  <a:pt x="653" y="1267"/>
                </a:cubicBezTo>
                <a:lnTo>
                  <a:pt x="3379" y="1267"/>
                </a:lnTo>
                <a:lnTo>
                  <a:pt x="3379" y="1267"/>
                </a:lnTo>
                <a:close/>
              </a:path>
            </a:pathLst>
          </a:custGeom>
          <a:solidFill>
            <a:srgbClr val="0059C0"/>
          </a:solidFill>
          <a:ln w="9525" cap="flat">
            <a:noFill/>
            <a:prstDash val="solid"/>
            <a:miter lim="800000"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4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"/>
                <a:ea typeface="+mn-ea"/>
                <a:cs typeface="Calibri" panose="020F0502020204030204" pitchFamily="34" charset="0"/>
              </a:rPr>
              <a:t>Header 3</a:t>
            </a:r>
          </a:p>
        </p:txBody>
      </p:sp>
      <p:sp>
        <p:nvSpPr>
          <p:cNvPr id="40" name="Freeform 115"/>
          <p:cNvSpPr>
            <a:spLocks noEditPoints="1"/>
          </p:cNvSpPr>
          <p:nvPr/>
        </p:nvSpPr>
        <p:spPr bwMode="auto">
          <a:xfrm>
            <a:off x="4127781" y="1362247"/>
            <a:ext cx="630315" cy="611611"/>
          </a:xfrm>
          <a:custGeom>
            <a:avLst/>
            <a:gdLst>
              <a:gd name="T0" fmla="*/ 492 w 640"/>
              <a:gd name="T1" fmla="*/ 256 h 621"/>
              <a:gd name="T2" fmla="*/ 421 w 640"/>
              <a:gd name="T3" fmla="*/ 285 h 621"/>
              <a:gd name="T4" fmla="*/ 334 w 640"/>
              <a:gd name="T5" fmla="*/ 147 h 621"/>
              <a:gd name="T6" fmla="*/ 327 w 640"/>
              <a:gd name="T7" fmla="*/ 0 h 621"/>
              <a:gd name="T8" fmla="*/ 320 w 640"/>
              <a:gd name="T9" fmla="*/ 147 h 621"/>
              <a:gd name="T10" fmla="*/ 234 w 640"/>
              <a:gd name="T11" fmla="*/ 286 h 621"/>
              <a:gd name="T12" fmla="*/ 147 w 640"/>
              <a:gd name="T13" fmla="*/ 256 h 621"/>
              <a:gd name="T14" fmla="*/ 0 w 640"/>
              <a:gd name="T15" fmla="*/ 256 h 621"/>
              <a:gd name="T16" fmla="*/ 143 w 640"/>
              <a:gd name="T17" fmla="*/ 281 h 621"/>
              <a:gd name="T18" fmla="*/ 229 w 640"/>
              <a:gd name="T19" fmla="*/ 316 h 621"/>
              <a:gd name="T20" fmla="*/ 206 w 640"/>
              <a:gd name="T21" fmla="*/ 483 h 621"/>
              <a:gd name="T22" fmla="*/ 97 w 640"/>
              <a:gd name="T23" fmla="*/ 548 h 621"/>
              <a:gd name="T24" fmla="*/ 245 w 640"/>
              <a:gd name="T25" fmla="*/ 548 h 621"/>
              <a:gd name="T26" fmla="*/ 278 w 640"/>
              <a:gd name="T27" fmla="*/ 401 h 621"/>
              <a:gd name="T28" fmla="*/ 372 w 640"/>
              <a:gd name="T29" fmla="*/ 404 h 621"/>
              <a:gd name="T30" fmla="*/ 394 w 640"/>
              <a:gd name="T31" fmla="*/ 548 h 621"/>
              <a:gd name="T32" fmla="*/ 542 w 640"/>
              <a:gd name="T33" fmla="*/ 548 h 621"/>
              <a:gd name="T34" fmla="*/ 436 w 640"/>
              <a:gd name="T35" fmla="*/ 481 h 621"/>
              <a:gd name="T36" fmla="*/ 426 w 640"/>
              <a:gd name="T37" fmla="*/ 316 h 621"/>
              <a:gd name="T38" fmla="*/ 496 w 640"/>
              <a:gd name="T39" fmla="*/ 281 h 621"/>
              <a:gd name="T40" fmla="*/ 640 w 640"/>
              <a:gd name="T41" fmla="*/ 256 h 621"/>
              <a:gd name="T42" fmla="*/ 73 w 640"/>
              <a:gd name="T43" fmla="*/ 316 h 621"/>
              <a:gd name="T44" fmla="*/ 73 w 640"/>
              <a:gd name="T45" fmla="*/ 196 h 621"/>
              <a:gd name="T46" fmla="*/ 73 w 640"/>
              <a:gd name="T47" fmla="*/ 316 h 621"/>
              <a:gd name="T48" fmla="*/ 171 w 640"/>
              <a:gd name="T49" fmla="*/ 607 h 621"/>
              <a:gd name="T50" fmla="*/ 171 w 640"/>
              <a:gd name="T51" fmla="*/ 488 h 621"/>
              <a:gd name="T52" fmla="*/ 528 w 640"/>
              <a:gd name="T53" fmla="*/ 548 h 621"/>
              <a:gd name="T54" fmla="*/ 408 w 640"/>
              <a:gd name="T55" fmla="*/ 548 h 621"/>
              <a:gd name="T56" fmla="*/ 528 w 640"/>
              <a:gd name="T57" fmla="*/ 548 h 621"/>
              <a:gd name="T58" fmla="*/ 327 w 640"/>
              <a:gd name="T59" fmla="*/ 14 h 621"/>
              <a:gd name="T60" fmla="*/ 327 w 640"/>
              <a:gd name="T61" fmla="*/ 134 h 621"/>
              <a:gd name="T62" fmla="*/ 327 w 640"/>
              <a:gd name="T63" fmla="*/ 400 h 621"/>
              <a:gd name="T64" fmla="*/ 327 w 640"/>
              <a:gd name="T65" fmla="*/ 232 h 621"/>
              <a:gd name="T66" fmla="*/ 327 w 640"/>
              <a:gd name="T67" fmla="*/ 400 h 621"/>
              <a:gd name="T68" fmla="*/ 508 w 640"/>
              <a:gd name="T69" fmla="*/ 271 h 621"/>
              <a:gd name="T70" fmla="*/ 508 w 640"/>
              <a:gd name="T71" fmla="*/ 271 h 621"/>
              <a:gd name="T72" fmla="*/ 566 w 640"/>
              <a:gd name="T73" fmla="*/ 196 h 621"/>
              <a:gd name="T74" fmla="*/ 566 w 640"/>
              <a:gd name="T75" fmla="*/ 316 h 6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40" h="621">
                <a:moveTo>
                  <a:pt x="566" y="182"/>
                </a:moveTo>
                <a:cubicBezTo>
                  <a:pt x="525" y="182"/>
                  <a:pt x="492" y="215"/>
                  <a:pt x="492" y="256"/>
                </a:cubicBezTo>
                <a:cubicBezTo>
                  <a:pt x="492" y="260"/>
                  <a:pt x="492" y="264"/>
                  <a:pt x="493" y="267"/>
                </a:cubicBezTo>
                <a:cubicBezTo>
                  <a:pt x="421" y="285"/>
                  <a:pt x="421" y="285"/>
                  <a:pt x="421" y="285"/>
                </a:cubicBezTo>
                <a:cubicBezTo>
                  <a:pt x="408" y="248"/>
                  <a:pt x="375" y="221"/>
                  <a:pt x="334" y="218"/>
                </a:cubicBezTo>
                <a:cubicBezTo>
                  <a:pt x="334" y="147"/>
                  <a:pt x="334" y="147"/>
                  <a:pt x="334" y="147"/>
                </a:cubicBezTo>
                <a:cubicBezTo>
                  <a:pt x="372" y="144"/>
                  <a:pt x="401" y="112"/>
                  <a:pt x="401" y="74"/>
                </a:cubicBezTo>
                <a:cubicBezTo>
                  <a:pt x="401" y="33"/>
                  <a:pt x="368" y="0"/>
                  <a:pt x="327" y="0"/>
                </a:cubicBezTo>
                <a:cubicBezTo>
                  <a:pt x="287" y="0"/>
                  <a:pt x="254" y="33"/>
                  <a:pt x="254" y="74"/>
                </a:cubicBezTo>
                <a:cubicBezTo>
                  <a:pt x="254" y="112"/>
                  <a:pt x="283" y="144"/>
                  <a:pt x="320" y="147"/>
                </a:cubicBezTo>
                <a:cubicBezTo>
                  <a:pt x="320" y="218"/>
                  <a:pt x="320" y="218"/>
                  <a:pt x="320" y="218"/>
                </a:cubicBezTo>
                <a:cubicBezTo>
                  <a:pt x="280" y="221"/>
                  <a:pt x="246" y="249"/>
                  <a:pt x="234" y="286"/>
                </a:cubicBezTo>
                <a:cubicBezTo>
                  <a:pt x="146" y="267"/>
                  <a:pt x="146" y="267"/>
                  <a:pt x="146" y="267"/>
                </a:cubicBezTo>
                <a:cubicBezTo>
                  <a:pt x="147" y="263"/>
                  <a:pt x="147" y="260"/>
                  <a:pt x="147" y="256"/>
                </a:cubicBezTo>
                <a:cubicBezTo>
                  <a:pt x="147" y="215"/>
                  <a:pt x="114" y="182"/>
                  <a:pt x="73" y="182"/>
                </a:cubicBezTo>
                <a:cubicBezTo>
                  <a:pt x="33" y="182"/>
                  <a:pt x="0" y="215"/>
                  <a:pt x="0" y="256"/>
                </a:cubicBezTo>
                <a:cubicBezTo>
                  <a:pt x="0" y="297"/>
                  <a:pt x="33" y="330"/>
                  <a:pt x="73" y="330"/>
                </a:cubicBezTo>
                <a:cubicBezTo>
                  <a:pt x="105" y="330"/>
                  <a:pt x="133" y="309"/>
                  <a:pt x="143" y="281"/>
                </a:cubicBezTo>
                <a:cubicBezTo>
                  <a:pt x="230" y="300"/>
                  <a:pt x="230" y="300"/>
                  <a:pt x="230" y="300"/>
                </a:cubicBezTo>
                <a:cubicBezTo>
                  <a:pt x="229" y="305"/>
                  <a:pt x="229" y="311"/>
                  <a:pt x="229" y="316"/>
                </a:cubicBezTo>
                <a:cubicBezTo>
                  <a:pt x="229" y="348"/>
                  <a:pt x="244" y="375"/>
                  <a:pt x="267" y="394"/>
                </a:cubicBezTo>
                <a:cubicBezTo>
                  <a:pt x="206" y="483"/>
                  <a:pt x="206" y="483"/>
                  <a:pt x="206" y="483"/>
                </a:cubicBezTo>
                <a:cubicBezTo>
                  <a:pt x="196" y="477"/>
                  <a:pt x="184" y="474"/>
                  <a:pt x="171" y="474"/>
                </a:cubicBezTo>
                <a:cubicBezTo>
                  <a:pt x="130" y="474"/>
                  <a:pt x="97" y="507"/>
                  <a:pt x="97" y="548"/>
                </a:cubicBezTo>
                <a:cubicBezTo>
                  <a:pt x="97" y="588"/>
                  <a:pt x="130" y="621"/>
                  <a:pt x="171" y="621"/>
                </a:cubicBezTo>
                <a:cubicBezTo>
                  <a:pt x="212" y="621"/>
                  <a:pt x="245" y="588"/>
                  <a:pt x="245" y="548"/>
                </a:cubicBezTo>
                <a:cubicBezTo>
                  <a:pt x="245" y="525"/>
                  <a:pt x="234" y="504"/>
                  <a:pt x="218" y="491"/>
                </a:cubicBezTo>
                <a:cubicBezTo>
                  <a:pt x="278" y="401"/>
                  <a:pt x="278" y="401"/>
                  <a:pt x="278" y="401"/>
                </a:cubicBezTo>
                <a:cubicBezTo>
                  <a:pt x="293" y="410"/>
                  <a:pt x="309" y="414"/>
                  <a:pt x="327" y="414"/>
                </a:cubicBezTo>
                <a:cubicBezTo>
                  <a:pt x="343" y="414"/>
                  <a:pt x="359" y="411"/>
                  <a:pt x="372" y="404"/>
                </a:cubicBezTo>
                <a:cubicBezTo>
                  <a:pt x="424" y="489"/>
                  <a:pt x="424" y="489"/>
                  <a:pt x="424" y="489"/>
                </a:cubicBezTo>
                <a:cubicBezTo>
                  <a:pt x="406" y="502"/>
                  <a:pt x="394" y="523"/>
                  <a:pt x="394" y="548"/>
                </a:cubicBezTo>
                <a:cubicBezTo>
                  <a:pt x="394" y="588"/>
                  <a:pt x="427" y="621"/>
                  <a:pt x="468" y="621"/>
                </a:cubicBezTo>
                <a:cubicBezTo>
                  <a:pt x="509" y="621"/>
                  <a:pt x="542" y="588"/>
                  <a:pt x="542" y="548"/>
                </a:cubicBezTo>
                <a:cubicBezTo>
                  <a:pt x="542" y="507"/>
                  <a:pt x="509" y="474"/>
                  <a:pt x="468" y="474"/>
                </a:cubicBezTo>
                <a:cubicBezTo>
                  <a:pt x="456" y="474"/>
                  <a:pt x="446" y="477"/>
                  <a:pt x="436" y="481"/>
                </a:cubicBezTo>
                <a:cubicBezTo>
                  <a:pt x="384" y="396"/>
                  <a:pt x="384" y="396"/>
                  <a:pt x="384" y="396"/>
                </a:cubicBezTo>
                <a:cubicBezTo>
                  <a:pt x="409" y="378"/>
                  <a:pt x="426" y="349"/>
                  <a:pt x="426" y="316"/>
                </a:cubicBezTo>
                <a:cubicBezTo>
                  <a:pt x="426" y="310"/>
                  <a:pt x="425" y="305"/>
                  <a:pt x="424" y="299"/>
                </a:cubicBezTo>
                <a:cubicBezTo>
                  <a:pt x="496" y="281"/>
                  <a:pt x="496" y="281"/>
                  <a:pt x="496" y="281"/>
                </a:cubicBezTo>
                <a:cubicBezTo>
                  <a:pt x="507" y="309"/>
                  <a:pt x="534" y="330"/>
                  <a:pt x="566" y="330"/>
                </a:cubicBezTo>
                <a:cubicBezTo>
                  <a:pt x="606" y="330"/>
                  <a:pt x="640" y="297"/>
                  <a:pt x="640" y="256"/>
                </a:cubicBezTo>
                <a:cubicBezTo>
                  <a:pt x="640" y="215"/>
                  <a:pt x="606" y="182"/>
                  <a:pt x="566" y="182"/>
                </a:cubicBezTo>
                <a:close/>
                <a:moveTo>
                  <a:pt x="73" y="316"/>
                </a:moveTo>
                <a:cubicBezTo>
                  <a:pt x="40" y="316"/>
                  <a:pt x="14" y="289"/>
                  <a:pt x="14" y="256"/>
                </a:cubicBezTo>
                <a:cubicBezTo>
                  <a:pt x="14" y="223"/>
                  <a:pt x="40" y="196"/>
                  <a:pt x="73" y="196"/>
                </a:cubicBezTo>
                <a:cubicBezTo>
                  <a:pt x="106" y="196"/>
                  <a:pt x="133" y="223"/>
                  <a:pt x="133" y="256"/>
                </a:cubicBezTo>
                <a:cubicBezTo>
                  <a:pt x="133" y="289"/>
                  <a:pt x="106" y="316"/>
                  <a:pt x="73" y="316"/>
                </a:cubicBezTo>
                <a:close/>
                <a:moveTo>
                  <a:pt x="231" y="548"/>
                </a:moveTo>
                <a:cubicBezTo>
                  <a:pt x="231" y="581"/>
                  <a:pt x="204" y="607"/>
                  <a:pt x="171" y="607"/>
                </a:cubicBezTo>
                <a:cubicBezTo>
                  <a:pt x="138" y="607"/>
                  <a:pt x="111" y="581"/>
                  <a:pt x="111" y="548"/>
                </a:cubicBezTo>
                <a:cubicBezTo>
                  <a:pt x="111" y="515"/>
                  <a:pt x="138" y="488"/>
                  <a:pt x="171" y="488"/>
                </a:cubicBezTo>
                <a:cubicBezTo>
                  <a:pt x="204" y="488"/>
                  <a:pt x="231" y="515"/>
                  <a:pt x="231" y="548"/>
                </a:cubicBezTo>
                <a:close/>
                <a:moveTo>
                  <a:pt x="528" y="548"/>
                </a:moveTo>
                <a:cubicBezTo>
                  <a:pt x="528" y="581"/>
                  <a:pt x="501" y="607"/>
                  <a:pt x="468" y="607"/>
                </a:cubicBezTo>
                <a:cubicBezTo>
                  <a:pt x="435" y="607"/>
                  <a:pt x="408" y="581"/>
                  <a:pt x="408" y="548"/>
                </a:cubicBezTo>
                <a:cubicBezTo>
                  <a:pt x="408" y="515"/>
                  <a:pt x="435" y="488"/>
                  <a:pt x="468" y="488"/>
                </a:cubicBezTo>
                <a:cubicBezTo>
                  <a:pt x="501" y="488"/>
                  <a:pt x="528" y="515"/>
                  <a:pt x="528" y="548"/>
                </a:cubicBezTo>
                <a:close/>
                <a:moveTo>
                  <a:pt x="268" y="74"/>
                </a:moveTo>
                <a:cubicBezTo>
                  <a:pt x="268" y="41"/>
                  <a:pt x="294" y="14"/>
                  <a:pt x="327" y="14"/>
                </a:cubicBezTo>
                <a:cubicBezTo>
                  <a:pt x="360" y="14"/>
                  <a:pt x="387" y="41"/>
                  <a:pt x="387" y="74"/>
                </a:cubicBezTo>
                <a:cubicBezTo>
                  <a:pt x="387" y="107"/>
                  <a:pt x="360" y="134"/>
                  <a:pt x="327" y="134"/>
                </a:cubicBezTo>
                <a:cubicBezTo>
                  <a:pt x="294" y="134"/>
                  <a:pt x="268" y="107"/>
                  <a:pt x="268" y="74"/>
                </a:cubicBezTo>
                <a:close/>
                <a:moveTo>
                  <a:pt x="327" y="400"/>
                </a:moveTo>
                <a:cubicBezTo>
                  <a:pt x="281" y="400"/>
                  <a:pt x="243" y="363"/>
                  <a:pt x="243" y="316"/>
                </a:cubicBezTo>
                <a:cubicBezTo>
                  <a:pt x="243" y="270"/>
                  <a:pt x="281" y="232"/>
                  <a:pt x="327" y="232"/>
                </a:cubicBezTo>
                <a:cubicBezTo>
                  <a:pt x="374" y="232"/>
                  <a:pt x="412" y="270"/>
                  <a:pt x="412" y="316"/>
                </a:cubicBezTo>
                <a:cubicBezTo>
                  <a:pt x="412" y="363"/>
                  <a:pt x="374" y="400"/>
                  <a:pt x="327" y="400"/>
                </a:cubicBezTo>
                <a:close/>
                <a:moveTo>
                  <a:pt x="566" y="316"/>
                </a:moveTo>
                <a:cubicBezTo>
                  <a:pt x="538" y="316"/>
                  <a:pt x="514" y="297"/>
                  <a:pt x="508" y="271"/>
                </a:cubicBezTo>
                <a:cubicBezTo>
                  <a:pt x="508" y="271"/>
                  <a:pt x="508" y="271"/>
                  <a:pt x="508" y="271"/>
                </a:cubicBezTo>
                <a:cubicBezTo>
                  <a:pt x="508" y="271"/>
                  <a:pt x="508" y="271"/>
                  <a:pt x="508" y="271"/>
                </a:cubicBezTo>
                <a:cubicBezTo>
                  <a:pt x="507" y="266"/>
                  <a:pt x="506" y="261"/>
                  <a:pt x="506" y="256"/>
                </a:cubicBezTo>
                <a:cubicBezTo>
                  <a:pt x="506" y="223"/>
                  <a:pt x="533" y="196"/>
                  <a:pt x="566" y="196"/>
                </a:cubicBezTo>
                <a:cubicBezTo>
                  <a:pt x="599" y="196"/>
                  <a:pt x="626" y="223"/>
                  <a:pt x="626" y="256"/>
                </a:cubicBezTo>
                <a:cubicBezTo>
                  <a:pt x="626" y="289"/>
                  <a:pt x="599" y="316"/>
                  <a:pt x="566" y="31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Freeform 123"/>
          <p:cNvSpPr>
            <a:spLocks noEditPoints="1"/>
          </p:cNvSpPr>
          <p:nvPr/>
        </p:nvSpPr>
        <p:spPr bwMode="auto">
          <a:xfrm>
            <a:off x="4135892" y="2392769"/>
            <a:ext cx="567413" cy="569291"/>
          </a:xfrm>
          <a:custGeom>
            <a:avLst/>
            <a:gdLst>
              <a:gd name="T0" fmla="*/ 529 w 676"/>
              <a:gd name="T1" fmla="*/ 279 h 678"/>
              <a:gd name="T2" fmla="*/ 431 w 676"/>
              <a:gd name="T3" fmla="*/ 293 h 678"/>
              <a:gd name="T4" fmla="*/ 409 w 676"/>
              <a:gd name="T5" fmla="*/ 210 h 678"/>
              <a:gd name="T6" fmla="*/ 367 w 676"/>
              <a:gd name="T7" fmla="*/ 125 h 678"/>
              <a:gd name="T8" fmla="*/ 401 w 676"/>
              <a:gd name="T9" fmla="*/ 58 h 678"/>
              <a:gd name="T10" fmla="*/ 504 w 676"/>
              <a:gd name="T11" fmla="*/ 6 h 678"/>
              <a:gd name="T12" fmla="*/ 579 w 676"/>
              <a:gd name="T13" fmla="*/ 18 h 678"/>
              <a:gd name="T14" fmla="*/ 659 w 676"/>
              <a:gd name="T15" fmla="*/ 100 h 678"/>
              <a:gd name="T16" fmla="*/ 676 w 676"/>
              <a:gd name="T17" fmla="*/ 169 h 678"/>
              <a:gd name="T18" fmla="*/ 605 w 676"/>
              <a:gd name="T19" fmla="*/ 241 h 678"/>
              <a:gd name="T20" fmla="*/ 558 w 676"/>
              <a:gd name="T21" fmla="*/ 314 h 678"/>
              <a:gd name="T22" fmla="*/ 539 w 676"/>
              <a:gd name="T23" fmla="*/ 267 h 678"/>
              <a:gd name="T24" fmla="*/ 590 w 676"/>
              <a:gd name="T25" fmla="*/ 242 h 678"/>
              <a:gd name="T26" fmla="*/ 626 w 676"/>
              <a:gd name="T27" fmla="*/ 172 h 678"/>
              <a:gd name="T28" fmla="*/ 655 w 676"/>
              <a:gd name="T29" fmla="*/ 114 h 678"/>
              <a:gd name="T30" fmla="*/ 566 w 676"/>
              <a:gd name="T31" fmla="*/ 67 h 678"/>
              <a:gd name="T32" fmla="*/ 517 w 676"/>
              <a:gd name="T33" fmla="*/ 15 h 678"/>
              <a:gd name="T34" fmla="*/ 500 w 676"/>
              <a:gd name="T35" fmla="*/ 56 h 678"/>
              <a:gd name="T36" fmla="*/ 401 w 676"/>
              <a:gd name="T37" fmla="*/ 73 h 678"/>
              <a:gd name="T38" fmla="*/ 413 w 676"/>
              <a:gd name="T39" fmla="*/ 144 h 678"/>
              <a:gd name="T40" fmla="*/ 422 w 676"/>
              <a:gd name="T41" fmla="*/ 215 h 678"/>
              <a:gd name="T42" fmla="*/ 463 w 676"/>
              <a:gd name="T43" fmla="*/ 255 h 678"/>
              <a:gd name="T44" fmla="*/ 532 w 676"/>
              <a:gd name="T45" fmla="*/ 264 h 678"/>
              <a:gd name="T46" fmla="*/ 478 w 676"/>
              <a:gd name="T47" fmla="*/ 160 h 678"/>
              <a:gd name="T48" fmla="*/ 517 w 676"/>
              <a:gd name="T49" fmla="*/ 199 h 678"/>
              <a:gd name="T50" fmla="*/ 517 w 676"/>
              <a:gd name="T51" fmla="*/ 185 h 678"/>
              <a:gd name="T52" fmla="*/ 258 w 676"/>
              <a:gd name="T53" fmla="*/ 678 h 678"/>
              <a:gd name="T54" fmla="*/ 233 w 676"/>
              <a:gd name="T55" fmla="*/ 615 h 678"/>
              <a:gd name="T56" fmla="*/ 105 w 676"/>
              <a:gd name="T57" fmla="*/ 628 h 678"/>
              <a:gd name="T58" fmla="*/ 90 w 676"/>
              <a:gd name="T59" fmla="*/ 522 h 678"/>
              <a:gd name="T60" fmla="*/ 0 w 676"/>
              <a:gd name="T61" fmla="*/ 424 h 678"/>
              <a:gd name="T62" fmla="*/ 14 w 676"/>
              <a:gd name="T63" fmla="*/ 350 h 678"/>
              <a:gd name="T64" fmla="*/ 91 w 676"/>
              <a:gd name="T65" fmla="*/ 229 h 678"/>
              <a:gd name="T66" fmla="*/ 159 w 676"/>
              <a:gd name="T67" fmla="*/ 185 h 678"/>
              <a:gd name="T68" fmla="*/ 276 w 676"/>
              <a:gd name="T69" fmla="*/ 222 h 678"/>
              <a:gd name="T70" fmla="*/ 378 w 676"/>
              <a:gd name="T71" fmla="*/ 190 h 678"/>
              <a:gd name="T72" fmla="*/ 423 w 676"/>
              <a:gd name="T73" fmla="*/ 310 h 678"/>
              <a:gd name="T74" fmla="*/ 513 w 676"/>
              <a:gd name="T75" fmla="*/ 370 h 678"/>
              <a:gd name="T76" fmla="*/ 456 w 676"/>
              <a:gd name="T77" fmla="*/ 419 h 678"/>
              <a:gd name="T78" fmla="*/ 494 w 676"/>
              <a:gd name="T79" fmla="*/ 527 h 678"/>
              <a:gd name="T80" fmla="*/ 393 w 676"/>
              <a:gd name="T81" fmla="*/ 564 h 678"/>
              <a:gd name="T82" fmla="*/ 325 w 676"/>
              <a:gd name="T83" fmla="*/ 669 h 678"/>
              <a:gd name="T84" fmla="*/ 165 w 676"/>
              <a:gd name="T85" fmla="*/ 577 h 678"/>
              <a:gd name="T86" fmla="*/ 261 w 676"/>
              <a:gd name="T87" fmla="*/ 664 h 678"/>
              <a:gd name="T88" fmla="*/ 323 w 676"/>
              <a:gd name="T89" fmla="*/ 591 h 678"/>
              <a:gd name="T90" fmla="*/ 449 w 676"/>
              <a:gd name="T91" fmla="*/ 573 h 678"/>
              <a:gd name="T92" fmla="*/ 432 w 676"/>
              <a:gd name="T93" fmla="*/ 479 h 678"/>
              <a:gd name="T94" fmla="*/ 445 w 676"/>
              <a:gd name="T95" fmla="*/ 396 h 678"/>
              <a:gd name="T96" fmla="*/ 421 w 676"/>
              <a:gd name="T97" fmla="*/ 325 h 678"/>
              <a:gd name="T98" fmla="*/ 356 w 676"/>
              <a:gd name="T99" fmla="*/ 258 h 678"/>
              <a:gd name="T100" fmla="*/ 286 w 676"/>
              <a:gd name="T101" fmla="*/ 233 h 678"/>
              <a:gd name="T102" fmla="*/ 199 w 676"/>
              <a:gd name="T103" fmla="*/ 245 h 678"/>
              <a:gd name="T104" fmla="*/ 106 w 676"/>
              <a:gd name="T105" fmla="*/ 228 h 678"/>
              <a:gd name="T106" fmla="*/ 85 w 676"/>
              <a:gd name="T107" fmla="*/ 357 h 678"/>
              <a:gd name="T108" fmla="*/ 14 w 676"/>
              <a:gd name="T109" fmla="*/ 419 h 678"/>
              <a:gd name="T110" fmla="*/ 104 w 676"/>
              <a:gd name="T111" fmla="*/ 519 h 678"/>
              <a:gd name="T112" fmla="*/ 109 w 676"/>
              <a:gd name="T113" fmla="*/ 613 h 678"/>
              <a:gd name="T114" fmla="*/ 258 w 676"/>
              <a:gd name="T115" fmla="*/ 484 h 678"/>
              <a:gd name="T116" fmla="*/ 323 w 676"/>
              <a:gd name="T117" fmla="*/ 419 h 678"/>
              <a:gd name="T118" fmla="*/ 207 w 676"/>
              <a:gd name="T119" fmla="*/ 419 h 678"/>
              <a:gd name="T120" fmla="*/ 258 w 676"/>
              <a:gd name="T121" fmla="*/ 368 h 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76" h="678">
                <a:moveTo>
                  <a:pt x="556" y="314"/>
                </a:moveTo>
                <a:cubicBezTo>
                  <a:pt x="554" y="314"/>
                  <a:pt x="551" y="313"/>
                  <a:pt x="550" y="311"/>
                </a:cubicBezTo>
                <a:cubicBezTo>
                  <a:pt x="529" y="279"/>
                  <a:pt x="529" y="279"/>
                  <a:pt x="529" y="279"/>
                </a:cubicBezTo>
                <a:cubicBezTo>
                  <a:pt x="508" y="281"/>
                  <a:pt x="488" y="277"/>
                  <a:pt x="468" y="269"/>
                </a:cubicBezTo>
                <a:cubicBezTo>
                  <a:pt x="439" y="293"/>
                  <a:pt x="439" y="293"/>
                  <a:pt x="439" y="293"/>
                </a:cubicBezTo>
                <a:cubicBezTo>
                  <a:pt x="437" y="295"/>
                  <a:pt x="433" y="295"/>
                  <a:pt x="431" y="293"/>
                </a:cubicBezTo>
                <a:cubicBezTo>
                  <a:pt x="412" y="281"/>
                  <a:pt x="397" y="266"/>
                  <a:pt x="385" y="248"/>
                </a:cubicBezTo>
                <a:cubicBezTo>
                  <a:pt x="383" y="245"/>
                  <a:pt x="383" y="242"/>
                  <a:pt x="385" y="239"/>
                </a:cubicBezTo>
                <a:cubicBezTo>
                  <a:pt x="409" y="210"/>
                  <a:pt x="409" y="210"/>
                  <a:pt x="409" y="210"/>
                </a:cubicBezTo>
                <a:cubicBezTo>
                  <a:pt x="401" y="194"/>
                  <a:pt x="398" y="177"/>
                  <a:pt x="398" y="160"/>
                </a:cubicBezTo>
                <a:cubicBezTo>
                  <a:pt x="398" y="155"/>
                  <a:pt x="398" y="151"/>
                  <a:pt x="398" y="146"/>
                </a:cubicBezTo>
                <a:cubicBezTo>
                  <a:pt x="367" y="125"/>
                  <a:pt x="367" y="125"/>
                  <a:pt x="367" y="125"/>
                </a:cubicBezTo>
                <a:cubicBezTo>
                  <a:pt x="364" y="124"/>
                  <a:pt x="363" y="120"/>
                  <a:pt x="364" y="117"/>
                </a:cubicBezTo>
                <a:cubicBezTo>
                  <a:pt x="370" y="96"/>
                  <a:pt x="380" y="77"/>
                  <a:pt x="393" y="60"/>
                </a:cubicBezTo>
                <a:cubicBezTo>
                  <a:pt x="395" y="57"/>
                  <a:pt x="399" y="57"/>
                  <a:pt x="401" y="58"/>
                </a:cubicBezTo>
                <a:cubicBezTo>
                  <a:pt x="437" y="71"/>
                  <a:pt x="437" y="71"/>
                  <a:pt x="437" y="71"/>
                </a:cubicBezTo>
                <a:cubicBezTo>
                  <a:pt x="453" y="57"/>
                  <a:pt x="472" y="47"/>
                  <a:pt x="494" y="43"/>
                </a:cubicBezTo>
                <a:cubicBezTo>
                  <a:pt x="504" y="6"/>
                  <a:pt x="504" y="6"/>
                  <a:pt x="504" y="6"/>
                </a:cubicBezTo>
                <a:cubicBezTo>
                  <a:pt x="505" y="3"/>
                  <a:pt x="507" y="1"/>
                  <a:pt x="510" y="1"/>
                </a:cubicBezTo>
                <a:cubicBezTo>
                  <a:pt x="532" y="0"/>
                  <a:pt x="554" y="4"/>
                  <a:pt x="574" y="11"/>
                </a:cubicBezTo>
                <a:cubicBezTo>
                  <a:pt x="577" y="12"/>
                  <a:pt x="579" y="15"/>
                  <a:pt x="579" y="18"/>
                </a:cubicBezTo>
                <a:cubicBezTo>
                  <a:pt x="577" y="56"/>
                  <a:pt x="577" y="56"/>
                  <a:pt x="577" y="56"/>
                </a:cubicBezTo>
                <a:cubicBezTo>
                  <a:pt x="596" y="67"/>
                  <a:pt x="611" y="83"/>
                  <a:pt x="621" y="102"/>
                </a:cubicBezTo>
                <a:cubicBezTo>
                  <a:pt x="659" y="100"/>
                  <a:pt x="659" y="100"/>
                  <a:pt x="659" y="100"/>
                </a:cubicBezTo>
                <a:cubicBezTo>
                  <a:pt x="662" y="100"/>
                  <a:pt x="665" y="102"/>
                  <a:pt x="666" y="105"/>
                </a:cubicBezTo>
                <a:cubicBezTo>
                  <a:pt x="673" y="122"/>
                  <a:pt x="676" y="141"/>
                  <a:pt x="676" y="160"/>
                </a:cubicBezTo>
                <a:cubicBezTo>
                  <a:pt x="676" y="163"/>
                  <a:pt x="676" y="166"/>
                  <a:pt x="676" y="169"/>
                </a:cubicBezTo>
                <a:cubicBezTo>
                  <a:pt x="676" y="172"/>
                  <a:pt x="674" y="174"/>
                  <a:pt x="671" y="175"/>
                </a:cubicBezTo>
                <a:cubicBezTo>
                  <a:pt x="634" y="185"/>
                  <a:pt x="634" y="185"/>
                  <a:pt x="634" y="185"/>
                </a:cubicBezTo>
                <a:cubicBezTo>
                  <a:pt x="629" y="206"/>
                  <a:pt x="619" y="225"/>
                  <a:pt x="605" y="241"/>
                </a:cubicBezTo>
                <a:cubicBezTo>
                  <a:pt x="618" y="277"/>
                  <a:pt x="618" y="277"/>
                  <a:pt x="618" y="277"/>
                </a:cubicBezTo>
                <a:cubicBezTo>
                  <a:pt x="619" y="279"/>
                  <a:pt x="618" y="283"/>
                  <a:pt x="616" y="284"/>
                </a:cubicBezTo>
                <a:cubicBezTo>
                  <a:pt x="598" y="298"/>
                  <a:pt x="579" y="308"/>
                  <a:pt x="558" y="314"/>
                </a:cubicBezTo>
                <a:cubicBezTo>
                  <a:pt x="557" y="314"/>
                  <a:pt x="557" y="314"/>
                  <a:pt x="556" y="314"/>
                </a:cubicBezTo>
                <a:close/>
                <a:moveTo>
                  <a:pt x="533" y="264"/>
                </a:moveTo>
                <a:cubicBezTo>
                  <a:pt x="535" y="264"/>
                  <a:pt x="538" y="265"/>
                  <a:pt x="539" y="267"/>
                </a:cubicBezTo>
                <a:cubicBezTo>
                  <a:pt x="559" y="299"/>
                  <a:pt x="559" y="299"/>
                  <a:pt x="559" y="299"/>
                </a:cubicBezTo>
                <a:cubicBezTo>
                  <a:pt x="575" y="294"/>
                  <a:pt x="590" y="286"/>
                  <a:pt x="603" y="277"/>
                </a:cubicBezTo>
                <a:cubicBezTo>
                  <a:pt x="590" y="242"/>
                  <a:pt x="590" y="242"/>
                  <a:pt x="590" y="242"/>
                </a:cubicBezTo>
                <a:cubicBezTo>
                  <a:pt x="589" y="239"/>
                  <a:pt x="590" y="236"/>
                  <a:pt x="592" y="234"/>
                </a:cubicBezTo>
                <a:cubicBezTo>
                  <a:pt x="607" y="219"/>
                  <a:pt x="617" y="199"/>
                  <a:pt x="621" y="178"/>
                </a:cubicBezTo>
                <a:cubicBezTo>
                  <a:pt x="621" y="175"/>
                  <a:pt x="623" y="173"/>
                  <a:pt x="626" y="172"/>
                </a:cubicBezTo>
                <a:cubicBezTo>
                  <a:pt x="662" y="163"/>
                  <a:pt x="662" y="163"/>
                  <a:pt x="662" y="163"/>
                </a:cubicBezTo>
                <a:cubicBezTo>
                  <a:pt x="662" y="162"/>
                  <a:pt x="662" y="161"/>
                  <a:pt x="662" y="160"/>
                </a:cubicBezTo>
                <a:cubicBezTo>
                  <a:pt x="662" y="144"/>
                  <a:pt x="660" y="129"/>
                  <a:pt x="655" y="114"/>
                </a:cubicBezTo>
                <a:cubicBezTo>
                  <a:pt x="618" y="116"/>
                  <a:pt x="618" y="116"/>
                  <a:pt x="618" y="116"/>
                </a:cubicBezTo>
                <a:cubicBezTo>
                  <a:pt x="615" y="116"/>
                  <a:pt x="612" y="114"/>
                  <a:pt x="611" y="112"/>
                </a:cubicBezTo>
                <a:cubicBezTo>
                  <a:pt x="601" y="92"/>
                  <a:pt x="586" y="77"/>
                  <a:pt x="566" y="67"/>
                </a:cubicBezTo>
                <a:cubicBezTo>
                  <a:pt x="564" y="65"/>
                  <a:pt x="562" y="63"/>
                  <a:pt x="563" y="60"/>
                </a:cubicBezTo>
                <a:cubicBezTo>
                  <a:pt x="565" y="23"/>
                  <a:pt x="565" y="23"/>
                  <a:pt x="565" y="23"/>
                </a:cubicBezTo>
                <a:cubicBezTo>
                  <a:pt x="549" y="17"/>
                  <a:pt x="533" y="15"/>
                  <a:pt x="517" y="15"/>
                </a:cubicBezTo>
                <a:cubicBezTo>
                  <a:pt x="517" y="15"/>
                  <a:pt x="516" y="15"/>
                  <a:pt x="516" y="15"/>
                </a:cubicBezTo>
                <a:cubicBezTo>
                  <a:pt x="506" y="51"/>
                  <a:pt x="506" y="51"/>
                  <a:pt x="506" y="51"/>
                </a:cubicBezTo>
                <a:cubicBezTo>
                  <a:pt x="505" y="53"/>
                  <a:pt x="503" y="55"/>
                  <a:pt x="500" y="56"/>
                </a:cubicBezTo>
                <a:cubicBezTo>
                  <a:pt x="479" y="59"/>
                  <a:pt x="459" y="69"/>
                  <a:pt x="443" y="84"/>
                </a:cubicBezTo>
                <a:cubicBezTo>
                  <a:pt x="442" y="86"/>
                  <a:pt x="439" y="87"/>
                  <a:pt x="436" y="86"/>
                </a:cubicBezTo>
                <a:cubicBezTo>
                  <a:pt x="401" y="73"/>
                  <a:pt x="401" y="73"/>
                  <a:pt x="401" y="73"/>
                </a:cubicBezTo>
                <a:cubicBezTo>
                  <a:pt x="391" y="86"/>
                  <a:pt x="384" y="101"/>
                  <a:pt x="379" y="116"/>
                </a:cubicBezTo>
                <a:cubicBezTo>
                  <a:pt x="410" y="137"/>
                  <a:pt x="410" y="137"/>
                  <a:pt x="410" y="137"/>
                </a:cubicBezTo>
                <a:cubicBezTo>
                  <a:pt x="412" y="138"/>
                  <a:pt x="413" y="141"/>
                  <a:pt x="413" y="144"/>
                </a:cubicBezTo>
                <a:cubicBezTo>
                  <a:pt x="412" y="149"/>
                  <a:pt x="412" y="154"/>
                  <a:pt x="412" y="160"/>
                </a:cubicBezTo>
                <a:cubicBezTo>
                  <a:pt x="412" y="176"/>
                  <a:pt x="415" y="193"/>
                  <a:pt x="423" y="207"/>
                </a:cubicBezTo>
                <a:cubicBezTo>
                  <a:pt x="424" y="210"/>
                  <a:pt x="424" y="213"/>
                  <a:pt x="422" y="215"/>
                </a:cubicBezTo>
                <a:cubicBezTo>
                  <a:pt x="399" y="244"/>
                  <a:pt x="399" y="244"/>
                  <a:pt x="399" y="244"/>
                </a:cubicBezTo>
                <a:cubicBezTo>
                  <a:pt x="409" y="258"/>
                  <a:pt x="421" y="269"/>
                  <a:pt x="434" y="279"/>
                </a:cubicBezTo>
                <a:cubicBezTo>
                  <a:pt x="463" y="255"/>
                  <a:pt x="463" y="255"/>
                  <a:pt x="463" y="255"/>
                </a:cubicBezTo>
                <a:cubicBezTo>
                  <a:pt x="465" y="254"/>
                  <a:pt x="468" y="253"/>
                  <a:pt x="471" y="254"/>
                </a:cubicBezTo>
                <a:cubicBezTo>
                  <a:pt x="485" y="262"/>
                  <a:pt x="501" y="265"/>
                  <a:pt x="517" y="265"/>
                </a:cubicBezTo>
                <a:cubicBezTo>
                  <a:pt x="522" y="265"/>
                  <a:pt x="527" y="265"/>
                  <a:pt x="532" y="264"/>
                </a:cubicBezTo>
                <a:cubicBezTo>
                  <a:pt x="532" y="264"/>
                  <a:pt x="533" y="264"/>
                  <a:pt x="533" y="264"/>
                </a:cubicBezTo>
                <a:close/>
                <a:moveTo>
                  <a:pt x="517" y="199"/>
                </a:moveTo>
                <a:cubicBezTo>
                  <a:pt x="496" y="199"/>
                  <a:pt x="478" y="181"/>
                  <a:pt x="478" y="160"/>
                </a:cubicBezTo>
                <a:cubicBezTo>
                  <a:pt x="478" y="138"/>
                  <a:pt x="496" y="121"/>
                  <a:pt x="517" y="121"/>
                </a:cubicBezTo>
                <a:cubicBezTo>
                  <a:pt x="539" y="121"/>
                  <a:pt x="556" y="138"/>
                  <a:pt x="556" y="160"/>
                </a:cubicBezTo>
                <a:cubicBezTo>
                  <a:pt x="556" y="181"/>
                  <a:pt x="539" y="199"/>
                  <a:pt x="517" y="199"/>
                </a:cubicBezTo>
                <a:close/>
                <a:moveTo>
                  <a:pt x="517" y="135"/>
                </a:moveTo>
                <a:cubicBezTo>
                  <a:pt x="503" y="135"/>
                  <a:pt x="492" y="146"/>
                  <a:pt x="492" y="160"/>
                </a:cubicBezTo>
                <a:cubicBezTo>
                  <a:pt x="492" y="174"/>
                  <a:pt x="503" y="185"/>
                  <a:pt x="517" y="185"/>
                </a:cubicBezTo>
                <a:cubicBezTo>
                  <a:pt x="531" y="185"/>
                  <a:pt x="542" y="174"/>
                  <a:pt x="542" y="160"/>
                </a:cubicBezTo>
                <a:cubicBezTo>
                  <a:pt x="542" y="146"/>
                  <a:pt x="531" y="135"/>
                  <a:pt x="517" y="135"/>
                </a:cubicBezTo>
                <a:close/>
                <a:moveTo>
                  <a:pt x="258" y="678"/>
                </a:moveTo>
                <a:cubicBezTo>
                  <a:pt x="256" y="678"/>
                  <a:pt x="256" y="678"/>
                  <a:pt x="256" y="678"/>
                </a:cubicBezTo>
                <a:cubicBezTo>
                  <a:pt x="252" y="678"/>
                  <a:pt x="250" y="676"/>
                  <a:pt x="249" y="673"/>
                </a:cubicBezTo>
                <a:cubicBezTo>
                  <a:pt x="233" y="615"/>
                  <a:pt x="233" y="615"/>
                  <a:pt x="233" y="615"/>
                </a:cubicBezTo>
                <a:cubicBezTo>
                  <a:pt x="208" y="612"/>
                  <a:pt x="184" y="604"/>
                  <a:pt x="162" y="592"/>
                </a:cubicBezTo>
                <a:cubicBezTo>
                  <a:pt x="113" y="628"/>
                  <a:pt x="113" y="628"/>
                  <a:pt x="113" y="628"/>
                </a:cubicBezTo>
                <a:cubicBezTo>
                  <a:pt x="111" y="630"/>
                  <a:pt x="108" y="630"/>
                  <a:pt x="105" y="628"/>
                </a:cubicBezTo>
                <a:cubicBezTo>
                  <a:pt x="86" y="614"/>
                  <a:pt x="69" y="598"/>
                  <a:pt x="55" y="579"/>
                </a:cubicBezTo>
                <a:cubicBezTo>
                  <a:pt x="53" y="577"/>
                  <a:pt x="53" y="574"/>
                  <a:pt x="55" y="571"/>
                </a:cubicBezTo>
                <a:cubicBezTo>
                  <a:pt x="90" y="522"/>
                  <a:pt x="90" y="522"/>
                  <a:pt x="90" y="522"/>
                </a:cubicBezTo>
                <a:cubicBezTo>
                  <a:pt x="75" y="499"/>
                  <a:pt x="66" y="474"/>
                  <a:pt x="62" y="447"/>
                </a:cubicBezTo>
                <a:cubicBezTo>
                  <a:pt x="5" y="431"/>
                  <a:pt x="5" y="431"/>
                  <a:pt x="5" y="431"/>
                </a:cubicBezTo>
                <a:cubicBezTo>
                  <a:pt x="2" y="430"/>
                  <a:pt x="0" y="427"/>
                  <a:pt x="0" y="424"/>
                </a:cubicBezTo>
                <a:cubicBezTo>
                  <a:pt x="0" y="423"/>
                  <a:pt x="0" y="421"/>
                  <a:pt x="0" y="419"/>
                </a:cubicBezTo>
                <a:cubicBezTo>
                  <a:pt x="0" y="398"/>
                  <a:pt x="2" y="376"/>
                  <a:pt x="8" y="355"/>
                </a:cubicBezTo>
                <a:cubicBezTo>
                  <a:pt x="8" y="352"/>
                  <a:pt x="11" y="350"/>
                  <a:pt x="14" y="350"/>
                </a:cubicBezTo>
                <a:cubicBezTo>
                  <a:pt x="74" y="348"/>
                  <a:pt x="74" y="348"/>
                  <a:pt x="74" y="348"/>
                </a:cubicBezTo>
                <a:cubicBezTo>
                  <a:pt x="83" y="324"/>
                  <a:pt x="97" y="302"/>
                  <a:pt x="114" y="283"/>
                </a:cubicBezTo>
                <a:cubicBezTo>
                  <a:pt x="91" y="229"/>
                  <a:pt x="91" y="229"/>
                  <a:pt x="91" y="229"/>
                </a:cubicBezTo>
                <a:cubicBezTo>
                  <a:pt x="89" y="226"/>
                  <a:pt x="90" y="223"/>
                  <a:pt x="93" y="221"/>
                </a:cubicBezTo>
                <a:cubicBezTo>
                  <a:pt x="110" y="206"/>
                  <a:pt x="130" y="193"/>
                  <a:pt x="151" y="184"/>
                </a:cubicBezTo>
                <a:cubicBezTo>
                  <a:pt x="154" y="182"/>
                  <a:pt x="157" y="183"/>
                  <a:pt x="159" y="185"/>
                </a:cubicBezTo>
                <a:cubicBezTo>
                  <a:pt x="199" y="230"/>
                  <a:pt x="199" y="230"/>
                  <a:pt x="199" y="230"/>
                </a:cubicBezTo>
                <a:cubicBezTo>
                  <a:pt x="218" y="224"/>
                  <a:pt x="238" y="221"/>
                  <a:pt x="258" y="221"/>
                </a:cubicBezTo>
                <a:cubicBezTo>
                  <a:pt x="264" y="221"/>
                  <a:pt x="270" y="222"/>
                  <a:pt x="276" y="222"/>
                </a:cubicBezTo>
                <a:cubicBezTo>
                  <a:pt x="304" y="170"/>
                  <a:pt x="304" y="170"/>
                  <a:pt x="304" y="170"/>
                </a:cubicBezTo>
                <a:cubicBezTo>
                  <a:pt x="306" y="167"/>
                  <a:pt x="309" y="165"/>
                  <a:pt x="312" y="166"/>
                </a:cubicBezTo>
                <a:cubicBezTo>
                  <a:pt x="335" y="171"/>
                  <a:pt x="357" y="179"/>
                  <a:pt x="378" y="190"/>
                </a:cubicBezTo>
                <a:cubicBezTo>
                  <a:pt x="380" y="191"/>
                  <a:pt x="382" y="194"/>
                  <a:pt x="381" y="197"/>
                </a:cubicBezTo>
                <a:cubicBezTo>
                  <a:pt x="371" y="256"/>
                  <a:pt x="371" y="256"/>
                  <a:pt x="371" y="256"/>
                </a:cubicBezTo>
                <a:cubicBezTo>
                  <a:pt x="391" y="271"/>
                  <a:pt x="410" y="289"/>
                  <a:pt x="423" y="310"/>
                </a:cubicBezTo>
                <a:cubicBezTo>
                  <a:pt x="482" y="300"/>
                  <a:pt x="482" y="300"/>
                  <a:pt x="482" y="300"/>
                </a:cubicBezTo>
                <a:cubicBezTo>
                  <a:pt x="485" y="299"/>
                  <a:pt x="489" y="301"/>
                  <a:pt x="490" y="303"/>
                </a:cubicBezTo>
                <a:cubicBezTo>
                  <a:pt x="500" y="325"/>
                  <a:pt x="508" y="347"/>
                  <a:pt x="513" y="370"/>
                </a:cubicBezTo>
                <a:cubicBezTo>
                  <a:pt x="513" y="373"/>
                  <a:pt x="512" y="376"/>
                  <a:pt x="509" y="378"/>
                </a:cubicBezTo>
                <a:cubicBezTo>
                  <a:pt x="456" y="406"/>
                  <a:pt x="456" y="406"/>
                  <a:pt x="456" y="406"/>
                </a:cubicBezTo>
                <a:cubicBezTo>
                  <a:pt x="456" y="410"/>
                  <a:pt x="456" y="415"/>
                  <a:pt x="456" y="419"/>
                </a:cubicBezTo>
                <a:cubicBezTo>
                  <a:pt x="456" y="439"/>
                  <a:pt x="453" y="459"/>
                  <a:pt x="447" y="479"/>
                </a:cubicBezTo>
                <a:cubicBezTo>
                  <a:pt x="492" y="519"/>
                  <a:pt x="492" y="519"/>
                  <a:pt x="492" y="519"/>
                </a:cubicBezTo>
                <a:cubicBezTo>
                  <a:pt x="494" y="521"/>
                  <a:pt x="495" y="524"/>
                  <a:pt x="494" y="527"/>
                </a:cubicBezTo>
                <a:cubicBezTo>
                  <a:pt x="484" y="548"/>
                  <a:pt x="471" y="568"/>
                  <a:pt x="456" y="586"/>
                </a:cubicBezTo>
                <a:cubicBezTo>
                  <a:pt x="454" y="589"/>
                  <a:pt x="451" y="589"/>
                  <a:pt x="448" y="588"/>
                </a:cubicBezTo>
                <a:cubicBezTo>
                  <a:pt x="393" y="564"/>
                  <a:pt x="393" y="564"/>
                  <a:pt x="393" y="564"/>
                </a:cubicBezTo>
                <a:cubicBezTo>
                  <a:pt x="375" y="581"/>
                  <a:pt x="355" y="594"/>
                  <a:pt x="333" y="603"/>
                </a:cubicBezTo>
                <a:cubicBezTo>
                  <a:pt x="330" y="663"/>
                  <a:pt x="330" y="663"/>
                  <a:pt x="330" y="663"/>
                </a:cubicBezTo>
                <a:cubicBezTo>
                  <a:pt x="330" y="666"/>
                  <a:pt x="328" y="669"/>
                  <a:pt x="325" y="669"/>
                </a:cubicBezTo>
                <a:cubicBezTo>
                  <a:pt x="303" y="675"/>
                  <a:pt x="281" y="678"/>
                  <a:pt x="258" y="678"/>
                </a:cubicBezTo>
                <a:close/>
                <a:moveTo>
                  <a:pt x="161" y="576"/>
                </a:moveTo>
                <a:cubicBezTo>
                  <a:pt x="162" y="576"/>
                  <a:pt x="164" y="577"/>
                  <a:pt x="165" y="577"/>
                </a:cubicBezTo>
                <a:cubicBezTo>
                  <a:pt x="188" y="591"/>
                  <a:pt x="213" y="599"/>
                  <a:pt x="239" y="602"/>
                </a:cubicBezTo>
                <a:cubicBezTo>
                  <a:pt x="242" y="602"/>
                  <a:pt x="244" y="604"/>
                  <a:pt x="245" y="607"/>
                </a:cubicBezTo>
                <a:cubicBezTo>
                  <a:pt x="261" y="664"/>
                  <a:pt x="261" y="664"/>
                  <a:pt x="261" y="664"/>
                </a:cubicBezTo>
                <a:cubicBezTo>
                  <a:pt x="280" y="664"/>
                  <a:pt x="298" y="661"/>
                  <a:pt x="316" y="657"/>
                </a:cubicBezTo>
                <a:cubicBezTo>
                  <a:pt x="319" y="598"/>
                  <a:pt x="319" y="598"/>
                  <a:pt x="319" y="598"/>
                </a:cubicBezTo>
                <a:cubicBezTo>
                  <a:pt x="319" y="595"/>
                  <a:pt x="321" y="592"/>
                  <a:pt x="323" y="591"/>
                </a:cubicBezTo>
                <a:cubicBezTo>
                  <a:pt x="347" y="582"/>
                  <a:pt x="368" y="569"/>
                  <a:pt x="387" y="551"/>
                </a:cubicBezTo>
                <a:cubicBezTo>
                  <a:pt x="389" y="549"/>
                  <a:pt x="392" y="548"/>
                  <a:pt x="394" y="549"/>
                </a:cubicBezTo>
                <a:cubicBezTo>
                  <a:pt x="449" y="573"/>
                  <a:pt x="449" y="573"/>
                  <a:pt x="449" y="573"/>
                </a:cubicBezTo>
                <a:cubicBezTo>
                  <a:pt x="461" y="558"/>
                  <a:pt x="471" y="542"/>
                  <a:pt x="479" y="526"/>
                </a:cubicBezTo>
                <a:cubicBezTo>
                  <a:pt x="434" y="486"/>
                  <a:pt x="434" y="486"/>
                  <a:pt x="434" y="486"/>
                </a:cubicBezTo>
                <a:cubicBezTo>
                  <a:pt x="432" y="484"/>
                  <a:pt x="431" y="481"/>
                  <a:pt x="432" y="479"/>
                </a:cubicBezTo>
                <a:cubicBezTo>
                  <a:pt x="439" y="459"/>
                  <a:pt x="442" y="439"/>
                  <a:pt x="442" y="419"/>
                </a:cubicBezTo>
                <a:cubicBezTo>
                  <a:pt x="442" y="414"/>
                  <a:pt x="442" y="408"/>
                  <a:pt x="441" y="402"/>
                </a:cubicBezTo>
                <a:cubicBezTo>
                  <a:pt x="441" y="400"/>
                  <a:pt x="443" y="397"/>
                  <a:pt x="445" y="396"/>
                </a:cubicBezTo>
                <a:cubicBezTo>
                  <a:pt x="498" y="368"/>
                  <a:pt x="498" y="368"/>
                  <a:pt x="498" y="368"/>
                </a:cubicBezTo>
                <a:cubicBezTo>
                  <a:pt x="494" y="349"/>
                  <a:pt x="488" y="331"/>
                  <a:pt x="480" y="314"/>
                </a:cubicBezTo>
                <a:cubicBezTo>
                  <a:pt x="421" y="325"/>
                  <a:pt x="421" y="325"/>
                  <a:pt x="421" y="325"/>
                </a:cubicBezTo>
                <a:cubicBezTo>
                  <a:pt x="419" y="325"/>
                  <a:pt x="416" y="324"/>
                  <a:pt x="414" y="322"/>
                </a:cubicBezTo>
                <a:cubicBezTo>
                  <a:pt x="400" y="299"/>
                  <a:pt x="381" y="280"/>
                  <a:pt x="359" y="265"/>
                </a:cubicBezTo>
                <a:cubicBezTo>
                  <a:pt x="357" y="264"/>
                  <a:pt x="356" y="261"/>
                  <a:pt x="356" y="258"/>
                </a:cubicBezTo>
                <a:cubicBezTo>
                  <a:pt x="367" y="200"/>
                  <a:pt x="367" y="200"/>
                  <a:pt x="367" y="200"/>
                </a:cubicBezTo>
                <a:cubicBezTo>
                  <a:pt x="350" y="191"/>
                  <a:pt x="332" y="185"/>
                  <a:pt x="314" y="181"/>
                </a:cubicBezTo>
                <a:cubicBezTo>
                  <a:pt x="286" y="233"/>
                  <a:pt x="286" y="233"/>
                  <a:pt x="286" y="233"/>
                </a:cubicBezTo>
                <a:cubicBezTo>
                  <a:pt x="285" y="235"/>
                  <a:pt x="282" y="237"/>
                  <a:pt x="279" y="237"/>
                </a:cubicBezTo>
                <a:cubicBezTo>
                  <a:pt x="272" y="236"/>
                  <a:pt x="265" y="235"/>
                  <a:pt x="258" y="235"/>
                </a:cubicBezTo>
                <a:cubicBezTo>
                  <a:pt x="238" y="235"/>
                  <a:pt x="218" y="239"/>
                  <a:pt x="199" y="245"/>
                </a:cubicBezTo>
                <a:cubicBezTo>
                  <a:pt x="197" y="246"/>
                  <a:pt x="194" y="245"/>
                  <a:pt x="192" y="243"/>
                </a:cubicBezTo>
                <a:cubicBezTo>
                  <a:pt x="152" y="198"/>
                  <a:pt x="152" y="198"/>
                  <a:pt x="152" y="198"/>
                </a:cubicBezTo>
                <a:cubicBezTo>
                  <a:pt x="136" y="207"/>
                  <a:pt x="120" y="216"/>
                  <a:pt x="106" y="228"/>
                </a:cubicBezTo>
                <a:cubicBezTo>
                  <a:pt x="129" y="282"/>
                  <a:pt x="129" y="282"/>
                  <a:pt x="129" y="282"/>
                </a:cubicBezTo>
                <a:cubicBezTo>
                  <a:pt x="130" y="285"/>
                  <a:pt x="130" y="288"/>
                  <a:pt x="128" y="290"/>
                </a:cubicBezTo>
                <a:cubicBezTo>
                  <a:pt x="109" y="309"/>
                  <a:pt x="94" y="332"/>
                  <a:pt x="85" y="357"/>
                </a:cubicBezTo>
                <a:cubicBezTo>
                  <a:pt x="84" y="360"/>
                  <a:pt x="82" y="361"/>
                  <a:pt x="79" y="362"/>
                </a:cubicBezTo>
                <a:cubicBezTo>
                  <a:pt x="20" y="364"/>
                  <a:pt x="20" y="364"/>
                  <a:pt x="20" y="364"/>
                </a:cubicBezTo>
                <a:cubicBezTo>
                  <a:pt x="16" y="382"/>
                  <a:pt x="14" y="400"/>
                  <a:pt x="14" y="419"/>
                </a:cubicBezTo>
                <a:cubicBezTo>
                  <a:pt x="71" y="435"/>
                  <a:pt x="71" y="435"/>
                  <a:pt x="71" y="435"/>
                </a:cubicBezTo>
                <a:cubicBezTo>
                  <a:pt x="73" y="435"/>
                  <a:pt x="75" y="438"/>
                  <a:pt x="76" y="441"/>
                </a:cubicBezTo>
                <a:cubicBezTo>
                  <a:pt x="79" y="468"/>
                  <a:pt x="89" y="495"/>
                  <a:pt x="104" y="519"/>
                </a:cubicBezTo>
                <a:cubicBezTo>
                  <a:pt x="105" y="521"/>
                  <a:pt x="105" y="524"/>
                  <a:pt x="104" y="527"/>
                </a:cubicBezTo>
                <a:cubicBezTo>
                  <a:pt x="69" y="575"/>
                  <a:pt x="69" y="575"/>
                  <a:pt x="69" y="575"/>
                </a:cubicBezTo>
                <a:cubicBezTo>
                  <a:pt x="81" y="589"/>
                  <a:pt x="94" y="602"/>
                  <a:pt x="109" y="613"/>
                </a:cubicBezTo>
                <a:cubicBezTo>
                  <a:pt x="157" y="578"/>
                  <a:pt x="157" y="578"/>
                  <a:pt x="157" y="578"/>
                </a:cubicBezTo>
                <a:cubicBezTo>
                  <a:pt x="158" y="577"/>
                  <a:pt x="160" y="576"/>
                  <a:pt x="161" y="576"/>
                </a:cubicBezTo>
                <a:close/>
                <a:moveTo>
                  <a:pt x="258" y="484"/>
                </a:moveTo>
                <a:cubicBezTo>
                  <a:pt x="223" y="484"/>
                  <a:pt x="193" y="455"/>
                  <a:pt x="193" y="419"/>
                </a:cubicBezTo>
                <a:cubicBezTo>
                  <a:pt x="193" y="383"/>
                  <a:pt x="223" y="354"/>
                  <a:pt x="258" y="354"/>
                </a:cubicBezTo>
                <a:cubicBezTo>
                  <a:pt x="294" y="354"/>
                  <a:pt x="323" y="383"/>
                  <a:pt x="323" y="419"/>
                </a:cubicBezTo>
                <a:cubicBezTo>
                  <a:pt x="323" y="455"/>
                  <a:pt x="294" y="484"/>
                  <a:pt x="258" y="484"/>
                </a:cubicBezTo>
                <a:close/>
                <a:moveTo>
                  <a:pt x="258" y="368"/>
                </a:moveTo>
                <a:cubicBezTo>
                  <a:pt x="230" y="368"/>
                  <a:pt x="207" y="391"/>
                  <a:pt x="207" y="419"/>
                </a:cubicBezTo>
                <a:cubicBezTo>
                  <a:pt x="207" y="447"/>
                  <a:pt x="230" y="470"/>
                  <a:pt x="258" y="470"/>
                </a:cubicBezTo>
                <a:cubicBezTo>
                  <a:pt x="286" y="470"/>
                  <a:pt x="309" y="447"/>
                  <a:pt x="309" y="419"/>
                </a:cubicBezTo>
                <a:cubicBezTo>
                  <a:pt x="309" y="391"/>
                  <a:pt x="286" y="368"/>
                  <a:pt x="258" y="36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Freeform 86"/>
          <p:cNvSpPr>
            <a:spLocks noEditPoints="1"/>
          </p:cNvSpPr>
          <p:nvPr/>
        </p:nvSpPr>
        <p:spPr bwMode="auto">
          <a:xfrm>
            <a:off x="4177177" y="3408684"/>
            <a:ext cx="501416" cy="556187"/>
          </a:xfrm>
          <a:custGeom>
            <a:avLst/>
            <a:gdLst>
              <a:gd name="T0" fmla="*/ 208 w 575"/>
              <a:gd name="T1" fmla="*/ 639 h 639"/>
              <a:gd name="T2" fmla="*/ 201 w 575"/>
              <a:gd name="T3" fmla="*/ 373 h 639"/>
              <a:gd name="T4" fmla="*/ 369 w 575"/>
              <a:gd name="T5" fmla="*/ 366 h 639"/>
              <a:gd name="T6" fmla="*/ 376 w 575"/>
              <a:gd name="T7" fmla="*/ 632 h 639"/>
              <a:gd name="T8" fmla="*/ 215 w 575"/>
              <a:gd name="T9" fmla="*/ 625 h 639"/>
              <a:gd name="T10" fmla="*/ 362 w 575"/>
              <a:gd name="T11" fmla="*/ 380 h 639"/>
              <a:gd name="T12" fmla="*/ 215 w 575"/>
              <a:gd name="T13" fmla="*/ 625 h 639"/>
              <a:gd name="T14" fmla="*/ 10 w 575"/>
              <a:gd name="T15" fmla="*/ 639 h 639"/>
              <a:gd name="T16" fmla="*/ 3 w 575"/>
              <a:gd name="T17" fmla="*/ 503 h 639"/>
              <a:gd name="T18" fmla="*/ 170 w 575"/>
              <a:gd name="T19" fmla="*/ 496 h 639"/>
              <a:gd name="T20" fmla="*/ 177 w 575"/>
              <a:gd name="T21" fmla="*/ 632 h 639"/>
              <a:gd name="T22" fmla="*/ 17 w 575"/>
              <a:gd name="T23" fmla="*/ 625 h 639"/>
              <a:gd name="T24" fmla="*/ 163 w 575"/>
              <a:gd name="T25" fmla="*/ 510 h 639"/>
              <a:gd name="T26" fmla="*/ 17 w 575"/>
              <a:gd name="T27" fmla="*/ 625 h 639"/>
              <a:gd name="T28" fmla="*/ 5 w 575"/>
              <a:gd name="T29" fmla="*/ 411 h 639"/>
              <a:gd name="T30" fmla="*/ 292 w 575"/>
              <a:gd name="T31" fmla="*/ 47 h 639"/>
              <a:gd name="T32" fmla="*/ 256 w 575"/>
              <a:gd name="T33" fmla="*/ 4 h 639"/>
              <a:gd name="T34" fmla="*/ 417 w 575"/>
              <a:gd name="T35" fmla="*/ 0 h 639"/>
              <a:gd name="T36" fmla="*/ 424 w 575"/>
              <a:gd name="T37" fmla="*/ 163 h 639"/>
              <a:gd name="T38" fmla="*/ 412 w 575"/>
              <a:gd name="T39" fmla="*/ 168 h 639"/>
              <a:gd name="T40" fmla="*/ 31 w 575"/>
              <a:gd name="T41" fmla="*/ 414 h 639"/>
              <a:gd name="T42" fmla="*/ 279 w 575"/>
              <a:gd name="T43" fmla="*/ 14 h 639"/>
              <a:gd name="T44" fmla="*/ 307 w 575"/>
              <a:gd name="T45" fmla="*/ 51 h 639"/>
              <a:gd name="T46" fmla="*/ 16 w 575"/>
              <a:gd name="T47" fmla="*/ 402 h 639"/>
              <a:gd name="T48" fmla="*/ 22 w 575"/>
              <a:gd name="T49" fmla="*/ 403 h 639"/>
              <a:gd name="T50" fmla="*/ 383 w 575"/>
              <a:gd name="T51" fmla="*/ 118 h 639"/>
              <a:gd name="T52" fmla="*/ 410 w 575"/>
              <a:gd name="T53" fmla="*/ 14 h 639"/>
              <a:gd name="T54" fmla="*/ 568 w 575"/>
              <a:gd name="T55" fmla="*/ 639 h 639"/>
              <a:gd name="T56" fmla="*/ 400 w 575"/>
              <a:gd name="T57" fmla="*/ 632 h 639"/>
              <a:gd name="T58" fmla="*/ 407 w 575"/>
              <a:gd name="T59" fmla="*/ 238 h 639"/>
              <a:gd name="T60" fmla="*/ 575 w 575"/>
              <a:gd name="T61" fmla="*/ 245 h 639"/>
              <a:gd name="T62" fmla="*/ 568 w 575"/>
              <a:gd name="T63" fmla="*/ 639 h 639"/>
              <a:gd name="T64" fmla="*/ 561 w 575"/>
              <a:gd name="T65" fmla="*/ 625 h 639"/>
              <a:gd name="T66" fmla="*/ 414 w 575"/>
              <a:gd name="T67" fmla="*/ 252 h 6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75" h="639">
                <a:moveTo>
                  <a:pt x="369" y="639"/>
                </a:moveTo>
                <a:cubicBezTo>
                  <a:pt x="208" y="639"/>
                  <a:pt x="208" y="639"/>
                  <a:pt x="208" y="639"/>
                </a:cubicBezTo>
                <a:cubicBezTo>
                  <a:pt x="205" y="639"/>
                  <a:pt x="201" y="636"/>
                  <a:pt x="201" y="632"/>
                </a:cubicBezTo>
                <a:cubicBezTo>
                  <a:pt x="201" y="373"/>
                  <a:pt x="201" y="373"/>
                  <a:pt x="201" y="373"/>
                </a:cubicBezTo>
                <a:cubicBezTo>
                  <a:pt x="201" y="369"/>
                  <a:pt x="205" y="366"/>
                  <a:pt x="208" y="366"/>
                </a:cubicBezTo>
                <a:cubicBezTo>
                  <a:pt x="369" y="366"/>
                  <a:pt x="369" y="366"/>
                  <a:pt x="369" y="366"/>
                </a:cubicBezTo>
                <a:cubicBezTo>
                  <a:pt x="373" y="366"/>
                  <a:pt x="376" y="369"/>
                  <a:pt x="376" y="373"/>
                </a:cubicBezTo>
                <a:cubicBezTo>
                  <a:pt x="376" y="632"/>
                  <a:pt x="376" y="632"/>
                  <a:pt x="376" y="632"/>
                </a:cubicBezTo>
                <a:cubicBezTo>
                  <a:pt x="376" y="636"/>
                  <a:pt x="373" y="639"/>
                  <a:pt x="369" y="639"/>
                </a:cubicBezTo>
                <a:close/>
                <a:moveTo>
                  <a:pt x="215" y="625"/>
                </a:moveTo>
                <a:cubicBezTo>
                  <a:pt x="362" y="625"/>
                  <a:pt x="362" y="625"/>
                  <a:pt x="362" y="625"/>
                </a:cubicBezTo>
                <a:cubicBezTo>
                  <a:pt x="362" y="380"/>
                  <a:pt x="362" y="380"/>
                  <a:pt x="362" y="380"/>
                </a:cubicBezTo>
                <a:cubicBezTo>
                  <a:pt x="215" y="380"/>
                  <a:pt x="215" y="380"/>
                  <a:pt x="215" y="380"/>
                </a:cubicBezTo>
                <a:lnTo>
                  <a:pt x="215" y="625"/>
                </a:lnTo>
                <a:close/>
                <a:moveTo>
                  <a:pt x="170" y="639"/>
                </a:moveTo>
                <a:cubicBezTo>
                  <a:pt x="10" y="639"/>
                  <a:pt x="10" y="639"/>
                  <a:pt x="10" y="639"/>
                </a:cubicBezTo>
                <a:cubicBezTo>
                  <a:pt x="6" y="639"/>
                  <a:pt x="3" y="636"/>
                  <a:pt x="3" y="632"/>
                </a:cubicBezTo>
                <a:cubicBezTo>
                  <a:pt x="3" y="503"/>
                  <a:pt x="3" y="503"/>
                  <a:pt x="3" y="503"/>
                </a:cubicBezTo>
                <a:cubicBezTo>
                  <a:pt x="3" y="499"/>
                  <a:pt x="6" y="496"/>
                  <a:pt x="10" y="496"/>
                </a:cubicBezTo>
                <a:cubicBezTo>
                  <a:pt x="170" y="496"/>
                  <a:pt x="170" y="496"/>
                  <a:pt x="170" y="496"/>
                </a:cubicBezTo>
                <a:cubicBezTo>
                  <a:pt x="174" y="496"/>
                  <a:pt x="177" y="499"/>
                  <a:pt x="177" y="503"/>
                </a:cubicBezTo>
                <a:cubicBezTo>
                  <a:pt x="177" y="632"/>
                  <a:pt x="177" y="632"/>
                  <a:pt x="177" y="632"/>
                </a:cubicBezTo>
                <a:cubicBezTo>
                  <a:pt x="177" y="636"/>
                  <a:pt x="174" y="639"/>
                  <a:pt x="170" y="639"/>
                </a:cubicBezTo>
                <a:close/>
                <a:moveTo>
                  <a:pt x="17" y="625"/>
                </a:moveTo>
                <a:cubicBezTo>
                  <a:pt x="163" y="625"/>
                  <a:pt x="163" y="625"/>
                  <a:pt x="163" y="625"/>
                </a:cubicBezTo>
                <a:cubicBezTo>
                  <a:pt x="163" y="510"/>
                  <a:pt x="163" y="510"/>
                  <a:pt x="163" y="510"/>
                </a:cubicBezTo>
                <a:cubicBezTo>
                  <a:pt x="17" y="510"/>
                  <a:pt x="17" y="510"/>
                  <a:pt x="17" y="510"/>
                </a:cubicBezTo>
                <a:lnTo>
                  <a:pt x="17" y="625"/>
                </a:lnTo>
                <a:close/>
                <a:moveTo>
                  <a:pt x="19" y="418"/>
                </a:moveTo>
                <a:cubicBezTo>
                  <a:pt x="14" y="418"/>
                  <a:pt x="9" y="416"/>
                  <a:pt x="5" y="411"/>
                </a:cubicBezTo>
                <a:cubicBezTo>
                  <a:pt x="0" y="404"/>
                  <a:pt x="0" y="395"/>
                  <a:pt x="5" y="388"/>
                </a:cubicBezTo>
                <a:cubicBezTo>
                  <a:pt x="292" y="47"/>
                  <a:pt x="292" y="47"/>
                  <a:pt x="292" y="47"/>
                </a:cubicBezTo>
                <a:cubicBezTo>
                  <a:pt x="257" y="12"/>
                  <a:pt x="257" y="12"/>
                  <a:pt x="257" y="12"/>
                </a:cubicBezTo>
                <a:cubicBezTo>
                  <a:pt x="255" y="10"/>
                  <a:pt x="255" y="7"/>
                  <a:pt x="256" y="4"/>
                </a:cubicBezTo>
                <a:cubicBezTo>
                  <a:pt x="257" y="1"/>
                  <a:pt x="260" y="0"/>
                  <a:pt x="262" y="0"/>
                </a:cubicBezTo>
                <a:cubicBezTo>
                  <a:pt x="417" y="0"/>
                  <a:pt x="417" y="0"/>
                  <a:pt x="417" y="0"/>
                </a:cubicBezTo>
                <a:cubicBezTo>
                  <a:pt x="421" y="0"/>
                  <a:pt x="424" y="3"/>
                  <a:pt x="424" y="7"/>
                </a:cubicBezTo>
                <a:cubicBezTo>
                  <a:pt x="424" y="163"/>
                  <a:pt x="424" y="163"/>
                  <a:pt x="424" y="163"/>
                </a:cubicBezTo>
                <a:cubicBezTo>
                  <a:pt x="424" y="166"/>
                  <a:pt x="423" y="168"/>
                  <a:pt x="420" y="169"/>
                </a:cubicBezTo>
                <a:cubicBezTo>
                  <a:pt x="417" y="170"/>
                  <a:pt x="414" y="170"/>
                  <a:pt x="412" y="168"/>
                </a:cubicBezTo>
                <a:cubicBezTo>
                  <a:pt x="377" y="133"/>
                  <a:pt x="377" y="133"/>
                  <a:pt x="377" y="133"/>
                </a:cubicBezTo>
                <a:cubicBezTo>
                  <a:pt x="31" y="414"/>
                  <a:pt x="31" y="414"/>
                  <a:pt x="31" y="414"/>
                </a:cubicBezTo>
                <a:cubicBezTo>
                  <a:pt x="28" y="417"/>
                  <a:pt x="24" y="418"/>
                  <a:pt x="19" y="418"/>
                </a:cubicBezTo>
                <a:close/>
                <a:moveTo>
                  <a:pt x="279" y="14"/>
                </a:moveTo>
                <a:cubicBezTo>
                  <a:pt x="307" y="41"/>
                  <a:pt x="307" y="41"/>
                  <a:pt x="307" y="41"/>
                </a:cubicBezTo>
                <a:cubicBezTo>
                  <a:pt x="309" y="44"/>
                  <a:pt x="309" y="48"/>
                  <a:pt x="307" y="51"/>
                </a:cubicBezTo>
                <a:cubicBezTo>
                  <a:pt x="16" y="397"/>
                  <a:pt x="16" y="397"/>
                  <a:pt x="16" y="397"/>
                </a:cubicBezTo>
                <a:cubicBezTo>
                  <a:pt x="15" y="399"/>
                  <a:pt x="15" y="401"/>
                  <a:pt x="16" y="402"/>
                </a:cubicBezTo>
                <a:cubicBezTo>
                  <a:pt x="17" y="404"/>
                  <a:pt x="18" y="404"/>
                  <a:pt x="19" y="404"/>
                </a:cubicBezTo>
                <a:cubicBezTo>
                  <a:pt x="20" y="404"/>
                  <a:pt x="21" y="404"/>
                  <a:pt x="22" y="403"/>
                </a:cubicBezTo>
                <a:cubicBezTo>
                  <a:pt x="373" y="118"/>
                  <a:pt x="373" y="118"/>
                  <a:pt x="373" y="118"/>
                </a:cubicBezTo>
                <a:cubicBezTo>
                  <a:pt x="376" y="115"/>
                  <a:pt x="380" y="116"/>
                  <a:pt x="383" y="118"/>
                </a:cubicBezTo>
                <a:cubicBezTo>
                  <a:pt x="410" y="146"/>
                  <a:pt x="410" y="146"/>
                  <a:pt x="410" y="146"/>
                </a:cubicBezTo>
                <a:cubicBezTo>
                  <a:pt x="410" y="14"/>
                  <a:pt x="410" y="14"/>
                  <a:pt x="410" y="14"/>
                </a:cubicBezTo>
                <a:lnTo>
                  <a:pt x="279" y="14"/>
                </a:lnTo>
                <a:close/>
                <a:moveTo>
                  <a:pt x="568" y="639"/>
                </a:moveTo>
                <a:cubicBezTo>
                  <a:pt x="407" y="639"/>
                  <a:pt x="407" y="639"/>
                  <a:pt x="407" y="639"/>
                </a:cubicBezTo>
                <a:cubicBezTo>
                  <a:pt x="403" y="639"/>
                  <a:pt x="400" y="636"/>
                  <a:pt x="400" y="632"/>
                </a:cubicBezTo>
                <a:cubicBezTo>
                  <a:pt x="400" y="245"/>
                  <a:pt x="400" y="245"/>
                  <a:pt x="400" y="245"/>
                </a:cubicBezTo>
                <a:cubicBezTo>
                  <a:pt x="400" y="241"/>
                  <a:pt x="403" y="238"/>
                  <a:pt x="407" y="238"/>
                </a:cubicBezTo>
                <a:cubicBezTo>
                  <a:pt x="568" y="238"/>
                  <a:pt x="568" y="238"/>
                  <a:pt x="568" y="238"/>
                </a:cubicBezTo>
                <a:cubicBezTo>
                  <a:pt x="572" y="238"/>
                  <a:pt x="575" y="241"/>
                  <a:pt x="575" y="245"/>
                </a:cubicBezTo>
                <a:cubicBezTo>
                  <a:pt x="575" y="632"/>
                  <a:pt x="575" y="632"/>
                  <a:pt x="575" y="632"/>
                </a:cubicBezTo>
                <a:cubicBezTo>
                  <a:pt x="575" y="636"/>
                  <a:pt x="572" y="639"/>
                  <a:pt x="568" y="639"/>
                </a:cubicBezTo>
                <a:close/>
                <a:moveTo>
                  <a:pt x="414" y="625"/>
                </a:moveTo>
                <a:cubicBezTo>
                  <a:pt x="561" y="625"/>
                  <a:pt x="561" y="625"/>
                  <a:pt x="561" y="625"/>
                </a:cubicBezTo>
                <a:cubicBezTo>
                  <a:pt x="561" y="252"/>
                  <a:pt x="561" y="252"/>
                  <a:pt x="561" y="252"/>
                </a:cubicBezTo>
                <a:cubicBezTo>
                  <a:pt x="414" y="252"/>
                  <a:pt x="414" y="252"/>
                  <a:pt x="414" y="252"/>
                </a:cubicBezTo>
                <a:lnTo>
                  <a:pt x="414" y="6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Freeform 109"/>
          <p:cNvSpPr>
            <a:spLocks noEditPoints="1"/>
          </p:cNvSpPr>
          <p:nvPr/>
        </p:nvSpPr>
        <p:spPr bwMode="auto">
          <a:xfrm>
            <a:off x="4054555" y="4343616"/>
            <a:ext cx="705789" cy="705048"/>
          </a:xfrm>
          <a:custGeom>
            <a:avLst/>
            <a:gdLst>
              <a:gd name="T0" fmla="*/ 431 w 692"/>
              <a:gd name="T1" fmla="*/ 165 h 693"/>
              <a:gd name="T2" fmla="*/ 350 w 692"/>
              <a:gd name="T3" fmla="*/ 245 h 693"/>
              <a:gd name="T4" fmla="*/ 349 w 692"/>
              <a:gd name="T5" fmla="*/ 246 h 693"/>
              <a:gd name="T6" fmla="*/ 348 w 692"/>
              <a:gd name="T7" fmla="*/ 246 h 693"/>
              <a:gd name="T8" fmla="*/ 345 w 692"/>
              <a:gd name="T9" fmla="*/ 246 h 693"/>
              <a:gd name="T10" fmla="*/ 343 w 692"/>
              <a:gd name="T11" fmla="*/ 246 h 693"/>
              <a:gd name="T12" fmla="*/ 342 w 692"/>
              <a:gd name="T13" fmla="*/ 245 h 693"/>
              <a:gd name="T14" fmla="*/ 262 w 692"/>
              <a:gd name="T15" fmla="*/ 165 h 693"/>
              <a:gd name="T16" fmla="*/ 272 w 692"/>
              <a:gd name="T17" fmla="*/ 155 h 693"/>
              <a:gd name="T18" fmla="*/ 339 w 692"/>
              <a:gd name="T19" fmla="*/ 7 h 693"/>
              <a:gd name="T20" fmla="*/ 353 w 692"/>
              <a:gd name="T21" fmla="*/ 7 h 693"/>
              <a:gd name="T22" fmla="*/ 421 w 692"/>
              <a:gd name="T23" fmla="*/ 155 h 693"/>
              <a:gd name="T24" fmla="*/ 351 w 692"/>
              <a:gd name="T25" fmla="*/ 449 h 693"/>
              <a:gd name="T26" fmla="*/ 341 w 692"/>
              <a:gd name="T27" fmla="*/ 449 h 693"/>
              <a:gd name="T28" fmla="*/ 262 w 692"/>
              <a:gd name="T29" fmla="*/ 539 h 693"/>
              <a:gd name="T30" fmla="*/ 339 w 692"/>
              <a:gd name="T31" fmla="*/ 471 h 693"/>
              <a:gd name="T32" fmla="*/ 346 w 692"/>
              <a:gd name="T33" fmla="*/ 693 h 693"/>
              <a:gd name="T34" fmla="*/ 353 w 692"/>
              <a:gd name="T35" fmla="*/ 471 h 693"/>
              <a:gd name="T36" fmla="*/ 426 w 692"/>
              <a:gd name="T37" fmla="*/ 541 h 693"/>
              <a:gd name="T38" fmla="*/ 431 w 692"/>
              <a:gd name="T39" fmla="*/ 529 h 693"/>
              <a:gd name="T40" fmla="*/ 685 w 692"/>
              <a:gd name="T41" fmla="*/ 340 h 693"/>
              <a:gd name="T42" fmla="*/ 538 w 692"/>
              <a:gd name="T43" fmla="*/ 272 h 693"/>
              <a:gd name="T44" fmla="*/ 528 w 692"/>
              <a:gd name="T45" fmla="*/ 262 h 693"/>
              <a:gd name="T46" fmla="*/ 448 w 692"/>
              <a:gd name="T47" fmla="*/ 343 h 693"/>
              <a:gd name="T48" fmla="*/ 447 w 692"/>
              <a:gd name="T49" fmla="*/ 344 h 693"/>
              <a:gd name="T50" fmla="*/ 447 w 692"/>
              <a:gd name="T51" fmla="*/ 345 h 693"/>
              <a:gd name="T52" fmla="*/ 447 w 692"/>
              <a:gd name="T53" fmla="*/ 348 h 693"/>
              <a:gd name="T54" fmla="*/ 447 w 692"/>
              <a:gd name="T55" fmla="*/ 349 h 693"/>
              <a:gd name="T56" fmla="*/ 448 w 692"/>
              <a:gd name="T57" fmla="*/ 351 h 693"/>
              <a:gd name="T58" fmla="*/ 528 w 692"/>
              <a:gd name="T59" fmla="*/ 431 h 693"/>
              <a:gd name="T60" fmla="*/ 538 w 692"/>
              <a:gd name="T61" fmla="*/ 431 h 693"/>
              <a:gd name="T62" fmla="*/ 471 w 692"/>
              <a:gd name="T63" fmla="*/ 354 h 693"/>
              <a:gd name="T64" fmla="*/ 692 w 692"/>
              <a:gd name="T65" fmla="*/ 347 h 693"/>
              <a:gd name="T66" fmla="*/ 245 w 692"/>
              <a:gd name="T67" fmla="*/ 349 h 693"/>
              <a:gd name="T68" fmla="*/ 246 w 692"/>
              <a:gd name="T69" fmla="*/ 348 h 693"/>
              <a:gd name="T70" fmla="*/ 246 w 692"/>
              <a:gd name="T71" fmla="*/ 345 h 693"/>
              <a:gd name="T72" fmla="*/ 245 w 692"/>
              <a:gd name="T73" fmla="*/ 344 h 693"/>
              <a:gd name="T74" fmla="*/ 244 w 692"/>
              <a:gd name="T75" fmla="*/ 343 h 693"/>
              <a:gd name="T76" fmla="*/ 164 w 692"/>
              <a:gd name="T77" fmla="*/ 262 h 693"/>
              <a:gd name="T78" fmla="*/ 154 w 692"/>
              <a:gd name="T79" fmla="*/ 272 h 693"/>
              <a:gd name="T80" fmla="*/ 7 w 692"/>
              <a:gd name="T81" fmla="*/ 340 h 693"/>
              <a:gd name="T82" fmla="*/ 7 w 692"/>
              <a:gd name="T83" fmla="*/ 354 h 693"/>
              <a:gd name="T84" fmla="*/ 154 w 692"/>
              <a:gd name="T85" fmla="*/ 421 h 693"/>
              <a:gd name="T86" fmla="*/ 159 w 692"/>
              <a:gd name="T87" fmla="*/ 433 h 693"/>
              <a:gd name="T88" fmla="*/ 244 w 692"/>
              <a:gd name="T89" fmla="*/ 352 h 693"/>
              <a:gd name="T90" fmla="*/ 245 w 692"/>
              <a:gd name="T91" fmla="*/ 350 h 693"/>
              <a:gd name="T92" fmla="*/ 346 w 692"/>
              <a:gd name="T93" fmla="*/ 371 h 693"/>
              <a:gd name="T94" fmla="*/ 346 w 692"/>
              <a:gd name="T95" fmla="*/ 323 h 693"/>
              <a:gd name="T96" fmla="*/ 346 w 692"/>
              <a:gd name="T97" fmla="*/ 371 h 693"/>
              <a:gd name="T98" fmla="*/ 356 w 692"/>
              <a:gd name="T99" fmla="*/ 347 h 693"/>
              <a:gd name="T100" fmla="*/ 336 w 692"/>
              <a:gd name="T101" fmla="*/ 347 h 6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92" h="693">
                <a:moveTo>
                  <a:pt x="431" y="155"/>
                </a:moveTo>
                <a:cubicBezTo>
                  <a:pt x="433" y="158"/>
                  <a:pt x="433" y="162"/>
                  <a:pt x="431" y="165"/>
                </a:cubicBezTo>
                <a:cubicBezTo>
                  <a:pt x="351" y="244"/>
                  <a:pt x="351" y="244"/>
                  <a:pt x="351" y="244"/>
                </a:cubicBezTo>
                <a:cubicBezTo>
                  <a:pt x="351" y="245"/>
                  <a:pt x="350" y="245"/>
                  <a:pt x="350" y="245"/>
                </a:cubicBezTo>
                <a:cubicBezTo>
                  <a:pt x="350" y="245"/>
                  <a:pt x="350" y="245"/>
                  <a:pt x="350" y="245"/>
                </a:cubicBezTo>
                <a:cubicBezTo>
                  <a:pt x="349" y="246"/>
                  <a:pt x="349" y="246"/>
                  <a:pt x="349" y="246"/>
                </a:cubicBezTo>
                <a:cubicBezTo>
                  <a:pt x="349" y="246"/>
                  <a:pt x="348" y="246"/>
                  <a:pt x="348" y="246"/>
                </a:cubicBezTo>
                <a:cubicBezTo>
                  <a:pt x="348" y="246"/>
                  <a:pt x="348" y="246"/>
                  <a:pt x="348" y="246"/>
                </a:cubicBezTo>
                <a:cubicBezTo>
                  <a:pt x="347" y="246"/>
                  <a:pt x="347" y="246"/>
                  <a:pt x="346" y="246"/>
                </a:cubicBezTo>
                <a:cubicBezTo>
                  <a:pt x="346" y="246"/>
                  <a:pt x="345" y="246"/>
                  <a:pt x="345" y="246"/>
                </a:cubicBezTo>
                <a:cubicBezTo>
                  <a:pt x="345" y="246"/>
                  <a:pt x="344" y="246"/>
                  <a:pt x="344" y="246"/>
                </a:cubicBezTo>
                <a:cubicBezTo>
                  <a:pt x="344" y="246"/>
                  <a:pt x="344" y="246"/>
                  <a:pt x="343" y="246"/>
                </a:cubicBezTo>
                <a:cubicBezTo>
                  <a:pt x="343" y="246"/>
                  <a:pt x="343" y="246"/>
                  <a:pt x="343" y="245"/>
                </a:cubicBezTo>
                <a:cubicBezTo>
                  <a:pt x="343" y="245"/>
                  <a:pt x="342" y="245"/>
                  <a:pt x="342" y="245"/>
                </a:cubicBezTo>
                <a:cubicBezTo>
                  <a:pt x="342" y="245"/>
                  <a:pt x="342" y="245"/>
                  <a:pt x="341" y="244"/>
                </a:cubicBezTo>
                <a:cubicBezTo>
                  <a:pt x="262" y="165"/>
                  <a:pt x="262" y="165"/>
                  <a:pt x="262" y="165"/>
                </a:cubicBezTo>
                <a:cubicBezTo>
                  <a:pt x="259" y="162"/>
                  <a:pt x="259" y="158"/>
                  <a:pt x="262" y="155"/>
                </a:cubicBezTo>
                <a:cubicBezTo>
                  <a:pt x="264" y="152"/>
                  <a:pt x="269" y="152"/>
                  <a:pt x="272" y="155"/>
                </a:cubicBezTo>
                <a:cubicBezTo>
                  <a:pt x="339" y="222"/>
                  <a:pt x="339" y="222"/>
                  <a:pt x="339" y="222"/>
                </a:cubicBezTo>
                <a:cubicBezTo>
                  <a:pt x="339" y="7"/>
                  <a:pt x="339" y="7"/>
                  <a:pt x="339" y="7"/>
                </a:cubicBezTo>
                <a:cubicBezTo>
                  <a:pt x="339" y="4"/>
                  <a:pt x="342" y="0"/>
                  <a:pt x="346" y="0"/>
                </a:cubicBezTo>
                <a:cubicBezTo>
                  <a:pt x="350" y="0"/>
                  <a:pt x="353" y="4"/>
                  <a:pt x="353" y="7"/>
                </a:cubicBezTo>
                <a:cubicBezTo>
                  <a:pt x="353" y="222"/>
                  <a:pt x="353" y="222"/>
                  <a:pt x="353" y="222"/>
                </a:cubicBezTo>
                <a:cubicBezTo>
                  <a:pt x="421" y="155"/>
                  <a:pt x="421" y="155"/>
                  <a:pt x="421" y="155"/>
                </a:cubicBezTo>
                <a:cubicBezTo>
                  <a:pt x="423" y="152"/>
                  <a:pt x="428" y="152"/>
                  <a:pt x="431" y="155"/>
                </a:cubicBezTo>
                <a:close/>
                <a:moveTo>
                  <a:pt x="351" y="449"/>
                </a:moveTo>
                <a:cubicBezTo>
                  <a:pt x="350" y="448"/>
                  <a:pt x="348" y="447"/>
                  <a:pt x="346" y="447"/>
                </a:cubicBezTo>
                <a:cubicBezTo>
                  <a:pt x="344" y="447"/>
                  <a:pt x="342" y="448"/>
                  <a:pt x="341" y="449"/>
                </a:cubicBezTo>
                <a:cubicBezTo>
                  <a:pt x="262" y="529"/>
                  <a:pt x="262" y="529"/>
                  <a:pt x="262" y="529"/>
                </a:cubicBezTo>
                <a:cubicBezTo>
                  <a:pt x="259" y="532"/>
                  <a:pt x="259" y="536"/>
                  <a:pt x="262" y="539"/>
                </a:cubicBezTo>
                <a:cubicBezTo>
                  <a:pt x="264" y="542"/>
                  <a:pt x="269" y="542"/>
                  <a:pt x="272" y="539"/>
                </a:cubicBezTo>
                <a:cubicBezTo>
                  <a:pt x="339" y="471"/>
                  <a:pt x="339" y="471"/>
                  <a:pt x="339" y="471"/>
                </a:cubicBezTo>
                <a:cubicBezTo>
                  <a:pt x="339" y="686"/>
                  <a:pt x="339" y="686"/>
                  <a:pt x="339" y="686"/>
                </a:cubicBezTo>
                <a:cubicBezTo>
                  <a:pt x="339" y="690"/>
                  <a:pt x="342" y="693"/>
                  <a:pt x="346" y="693"/>
                </a:cubicBezTo>
                <a:cubicBezTo>
                  <a:pt x="350" y="693"/>
                  <a:pt x="353" y="690"/>
                  <a:pt x="353" y="686"/>
                </a:cubicBezTo>
                <a:cubicBezTo>
                  <a:pt x="353" y="471"/>
                  <a:pt x="353" y="471"/>
                  <a:pt x="353" y="471"/>
                </a:cubicBezTo>
                <a:cubicBezTo>
                  <a:pt x="421" y="539"/>
                  <a:pt x="421" y="539"/>
                  <a:pt x="421" y="539"/>
                </a:cubicBezTo>
                <a:cubicBezTo>
                  <a:pt x="422" y="540"/>
                  <a:pt x="424" y="541"/>
                  <a:pt x="426" y="541"/>
                </a:cubicBezTo>
                <a:cubicBezTo>
                  <a:pt x="427" y="541"/>
                  <a:pt x="429" y="540"/>
                  <a:pt x="431" y="539"/>
                </a:cubicBezTo>
                <a:cubicBezTo>
                  <a:pt x="433" y="536"/>
                  <a:pt x="433" y="532"/>
                  <a:pt x="431" y="529"/>
                </a:cubicBezTo>
                <a:lnTo>
                  <a:pt x="351" y="449"/>
                </a:lnTo>
                <a:close/>
                <a:moveTo>
                  <a:pt x="685" y="340"/>
                </a:moveTo>
                <a:cubicBezTo>
                  <a:pt x="471" y="340"/>
                  <a:pt x="471" y="340"/>
                  <a:pt x="471" y="340"/>
                </a:cubicBezTo>
                <a:cubicBezTo>
                  <a:pt x="538" y="272"/>
                  <a:pt x="538" y="272"/>
                  <a:pt x="538" y="272"/>
                </a:cubicBezTo>
                <a:cubicBezTo>
                  <a:pt x="541" y="269"/>
                  <a:pt x="541" y="265"/>
                  <a:pt x="538" y="262"/>
                </a:cubicBezTo>
                <a:cubicBezTo>
                  <a:pt x="535" y="260"/>
                  <a:pt x="531" y="260"/>
                  <a:pt x="528" y="262"/>
                </a:cubicBezTo>
                <a:cubicBezTo>
                  <a:pt x="449" y="342"/>
                  <a:pt x="449" y="342"/>
                  <a:pt x="449" y="342"/>
                </a:cubicBezTo>
                <a:cubicBezTo>
                  <a:pt x="448" y="342"/>
                  <a:pt x="448" y="343"/>
                  <a:pt x="448" y="343"/>
                </a:cubicBezTo>
                <a:cubicBezTo>
                  <a:pt x="448" y="343"/>
                  <a:pt x="448" y="343"/>
                  <a:pt x="448" y="343"/>
                </a:cubicBezTo>
                <a:cubicBezTo>
                  <a:pt x="448" y="343"/>
                  <a:pt x="447" y="344"/>
                  <a:pt x="447" y="344"/>
                </a:cubicBezTo>
                <a:cubicBezTo>
                  <a:pt x="447" y="344"/>
                  <a:pt x="447" y="344"/>
                  <a:pt x="447" y="344"/>
                </a:cubicBezTo>
                <a:cubicBezTo>
                  <a:pt x="447" y="345"/>
                  <a:pt x="447" y="345"/>
                  <a:pt x="447" y="345"/>
                </a:cubicBezTo>
                <a:cubicBezTo>
                  <a:pt x="447" y="346"/>
                  <a:pt x="447" y="346"/>
                  <a:pt x="447" y="347"/>
                </a:cubicBezTo>
                <a:cubicBezTo>
                  <a:pt x="447" y="347"/>
                  <a:pt x="447" y="348"/>
                  <a:pt x="447" y="348"/>
                </a:cubicBezTo>
                <a:cubicBezTo>
                  <a:pt x="447" y="349"/>
                  <a:pt x="447" y="349"/>
                  <a:pt x="447" y="349"/>
                </a:cubicBezTo>
                <a:cubicBezTo>
                  <a:pt x="447" y="349"/>
                  <a:pt x="447" y="349"/>
                  <a:pt x="447" y="349"/>
                </a:cubicBezTo>
                <a:cubicBezTo>
                  <a:pt x="447" y="350"/>
                  <a:pt x="448" y="350"/>
                  <a:pt x="448" y="351"/>
                </a:cubicBezTo>
                <a:cubicBezTo>
                  <a:pt x="448" y="351"/>
                  <a:pt x="448" y="351"/>
                  <a:pt x="448" y="351"/>
                </a:cubicBezTo>
                <a:cubicBezTo>
                  <a:pt x="448" y="351"/>
                  <a:pt x="448" y="351"/>
                  <a:pt x="449" y="352"/>
                </a:cubicBezTo>
                <a:cubicBezTo>
                  <a:pt x="528" y="431"/>
                  <a:pt x="528" y="431"/>
                  <a:pt x="528" y="431"/>
                </a:cubicBezTo>
                <a:cubicBezTo>
                  <a:pt x="530" y="433"/>
                  <a:pt x="531" y="433"/>
                  <a:pt x="533" y="433"/>
                </a:cubicBezTo>
                <a:cubicBezTo>
                  <a:pt x="535" y="433"/>
                  <a:pt x="537" y="433"/>
                  <a:pt x="538" y="431"/>
                </a:cubicBezTo>
                <a:cubicBezTo>
                  <a:pt x="541" y="429"/>
                  <a:pt x="541" y="424"/>
                  <a:pt x="538" y="421"/>
                </a:cubicBezTo>
                <a:cubicBezTo>
                  <a:pt x="471" y="354"/>
                  <a:pt x="471" y="354"/>
                  <a:pt x="471" y="354"/>
                </a:cubicBezTo>
                <a:cubicBezTo>
                  <a:pt x="685" y="354"/>
                  <a:pt x="685" y="354"/>
                  <a:pt x="685" y="354"/>
                </a:cubicBezTo>
                <a:cubicBezTo>
                  <a:pt x="689" y="354"/>
                  <a:pt x="692" y="351"/>
                  <a:pt x="692" y="347"/>
                </a:cubicBezTo>
                <a:cubicBezTo>
                  <a:pt x="692" y="343"/>
                  <a:pt x="689" y="340"/>
                  <a:pt x="685" y="340"/>
                </a:cubicBezTo>
                <a:close/>
                <a:moveTo>
                  <a:pt x="245" y="349"/>
                </a:moveTo>
                <a:cubicBezTo>
                  <a:pt x="245" y="349"/>
                  <a:pt x="245" y="349"/>
                  <a:pt x="245" y="349"/>
                </a:cubicBezTo>
                <a:cubicBezTo>
                  <a:pt x="245" y="349"/>
                  <a:pt x="245" y="349"/>
                  <a:pt x="246" y="348"/>
                </a:cubicBezTo>
                <a:cubicBezTo>
                  <a:pt x="246" y="348"/>
                  <a:pt x="246" y="347"/>
                  <a:pt x="246" y="347"/>
                </a:cubicBezTo>
                <a:cubicBezTo>
                  <a:pt x="246" y="346"/>
                  <a:pt x="246" y="346"/>
                  <a:pt x="246" y="345"/>
                </a:cubicBezTo>
                <a:cubicBezTo>
                  <a:pt x="245" y="345"/>
                  <a:pt x="245" y="345"/>
                  <a:pt x="245" y="344"/>
                </a:cubicBezTo>
                <a:cubicBezTo>
                  <a:pt x="245" y="344"/>
                  <a:pt x="245" y="344"/>
                  <a:pt x="245" y="344"/>
                </a:cubicBezTo>
                <a:cubicBezTo>
                  <a:pt x="245" y="344"/>
                  <a:pt x="245" y="343"/>
                  <a:pt x="245" y="343"/>
                </a:cubicBezTo>
                <a:cubicBezTo>
                  <a:pt x="245" y="343"/>
                  <a:pt x="245" y="343"/>
                  <a:pt x="244" y="343"/>
                </a:cubicBezTo>
                <a:cubicBezTo>
                  <a:pt x="244" y="343"/>
                  <a:pt x="244" y="342"/>
                  <a:pt x="244" y="342"/>
                </a:cubicBezTo>
                <a:cubicBezTo>
                  <a:pt x="164" y="262"/>
                  <a:pt x="164" y="262"/>
                  <a:pt x="164" y="262"/>
                </a:cubicBezTo>
                <a:cubicBezTo>
                  <a:pt x="161" y="260"/>
                  <a:pt x="157" y="260"/>
                  <a:pt x="154" y="262"/>
                </a:cubicBezTo>
                <a:cubicBezTo>
                  <a:pt x="151" y="265"/>
                  <a:pt x="151" y="269"/>
                  <a:pt x="154" y="272"/>
                </a:cubicBezTo>
                <a:cubicBezTo>
                  <a:pt x="222" y="340"/>
                  <a:pt x="222" y="340"/>
                  <a:pt x="222" y="340"/>
                </a:cubicBezTo>
                <a:cubicBezTo>
                  <a:pt x="7" y="340"/>
                  <a:pt x="7" y="340"/>
                  <a:pt x="7" y="340"/>
                </a:cubicBezTo>
                <a:cubicBezTo>
                  <a:pt x="3" y="340"/>
                  <a:pt x="0" y="343"/>
                  <a:pt x="0" y="347"/>
                </a:cubicBezTo>
                <a:cubicBezTo>
                  <a:pt x="0" y="351"/>
                  <a:pt x="3" y="354"/>
                  <a:pt x="7" y="354"/>
                </a:cubicBezTo>
                <a:cubicBezTo>
                  <a:pt x="222" y="354"/>
                  <a:pt x="222" y="354"/>
                  <a:pt x="222" y="354"/>
                </a:cubicBezTo>
                <a:cubicBezTo>
                  <a:pt x="154" y="421"/>
                  <a:pt x="154" y="421"/>
                  <a:pt x="154" y="421"/>
                </a:cubicBezTo>
                <a:cubicBezTo>
                  <a:pt x="151" y="424"/>
                  <a:pt x="151" y="429"/>
                  <a:pt x="154" y="431"/>
                </a:cubicBezTo>
                <a:cubicBezTo>
                  <a:pt x="156" y="433"/>
                  <a:pt x="157" y="433"/>
                  <a:pt x="159" y="433"/>
                </a:cubicBezTo>
                <a:cubicBezTo>
                  <a:pt x="161" y="433"/>
                  <a:pt x="163" y="433"/>
                  <a:pt x="164" y="431"/>
                </a:cubicBezTo>
                <a:cubicBezTo>
                  <a:pt x="244" y="352"/>
                  <a:pt x="244" y="352"/>
                  <a:pt x="244" y="352"/>
                </a:cubicBezTo>
                <a:cubicBezTo>
                  <a:pt x="244" y="351"/>
                  <a:pt x="244" y="351"/>
                  <a:pt x="244" y="351"/>
                </a:cubicBezTo>
                <a:cubicBezTo>
                  <a:pt x="245" y="351"/>
                  <a:pt x="245" y="351"/>
                  <a:pt x="245" y="350"/>
                </a:cubicBezTo>
                <a:cubicBezTo>
                  <a:pt x="245" y="350"/>
                  <a:pt x="245" y="350"/>
                  <a:pt x="245" y="349"/>
                </a:cubicBezTo>
                <a:close/>
                <a:moveTo>
                  <a:pt x="346" y="371"/>
                </a:moveTo>
                <a:cubicBezTo>
                  <a:pt x="333" y="371"/>
                  <a:pt x="322" y="360"/>
                  <a:pt x="322" y="347"/>
                </a:cubicBezTo>
                <a:cubicBezTo>
                  <a:pt x="322" y="333"/>
                  <a:pt x="333" y="323"/>
                  <a:pt x="346" y="323"/>
                </a:cubicBezTo>
                <a:cubicBezTo>
                  <a:pt x="359" y="323"/>
                  <a:pt x="370" y="333"/>
                  <a:pt x="370" y="347"/>
                </a:cubicBezTo>
                <a:cubicBezTo>
                  <a:pt x="370" y="360"/>
                  <a:pt x="359" y="371"/>
                  <a:pt x="346" y="371"/>
                </a:cubicBezTo>
                <a:close/>
                <a:moveTo>
                  <a:pt x="346" y="357"/>
                </a:moveTo>
                <a:cubicBezTo>
                  <a:pt x="352" y="357"/>
                  <a:pt x="356" y="352"/>
                  <a:pt x="356" y="347"/>
                </a:cubicBezTo>
                <a:cubicBezTo>
                  <a:pt x="356" y="341"/>
                  <a:pt x="352" y="337"/>
                  <a:pt x="346" y="337"/>
                </a:cubicBezTo>
                <a:cubicBezTo>
                  <a:pt x="341" y="337"/>
                  <a:pt x="336" y="341"/>
                  <a:pt x="336" y="347"/>
                </a:cubicBezTo>
                <a:cubicBezTo>
                  <a:pt x="336" y="352"/>
                  <a:pt x="341" y="357"/>
                  <a:pt x="346" y="35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Freeform 96"/>
          <p:cNvSpPr>
            <a:spLocks noEditPoints="1"/>
          </p:cNvSpPr>
          <p:nvPr/>
        </p:nvSpPr>
        <p:spPr bwMode="auto">
          <a:xfrm>
            <a:off x="4129263" y="5405592"/>
            <a:ext cx="556373" cy="599824"/>
          </a:xfrm>
          <a:custGeom>
            <a:avLst/>
            <a:gdLst>
              <a:gd name="T0" fmla="*/ 430 w 658"/>
              <a:gd name="T1" fmla="*/ 439 h 709"/>
              <a:gd name="T2" fmla="*/ 430 w 658"/>
              <a:gd name="T3" fmla="*/ 352 h 709"/>
              <a:gd name="T4" fmla="*/ 449 w 658"/>
              <a:gd name="T5" fmla="*/ 396 h 709"/>
              <a:gd name="T6" fmla="*/ 411 w 658"/>
              <a:gd name="T7" fmla="*/ 396 h 709"/>
              <a:gd name="T8" fmla="*/ 449 w 658"/>
              <a:gd name="T9" fmla="*/ 396 h 709"/>
              <a:gd name="T10" fmla="*/ 648 w 658"/>
              <a:gd name="T11" fmla="*/ 615 h 709"/>
              <a:gd name="T12" fmla="*/ 366 w 658"/>
              <a:gd name="T13" fmla="*/ 93 h 709"/>
              <a:gd name="T14" fmla="*/ 647 w 658"/>
              <a:gd name="T15" fmla="*/ 7 h 709"/>
              <a:gd name="T16" fmla="*/ 228 w 658"/>
              <a:gd name="T17" fmla="*/ 0 h 709"/>
              <a:gd name="T18" fmla="*/ 221 w 658"/>
              <a:gd name="T19" fmla="*/ 256 h 709"/>
              <a:gd name="T20" fmla="*/ 146 w 658"/>
              <a:gd name="T21" fmla="*/ 204 h 709"/>
              <a:gd name="T22" fmla="*/ 258 w 658"/>
              <a:gd name="T23" fmla="*/ 305 h 709"/>
              <a:gd name="T24" fmla="*/ 0 w 658"/>
              <a:gd name="T25" fmla="*/ 312 h 709"/>
              <a:gd name="T26" fmla="*/ 258 w 658"/>
              <a:gd name="T27" fmla="*/ 319 h 709"/>
              <a:gd name="T28" fmla="*/ 146 w 658"/>
              <a:gd name="T29" fmla="*/ 421 h 709"/>
              <a:gd name="T30" fmla="*/ 156 w 658"/>
              <a:gd name="T31" fmla="*/ 422 h 709"/>
              <a:gd name="T32" fmla="*/ 221 w 658"/>
              <a:gd name="T33" fmla="*/ 622 h 709"/>
              <a:gd name="T34" fmla="*/ 352 w 658"/>
              <a:gd name="T35" fmla="*/ 629 h 709"/>
              <a:gd name="T36" fmla="*/ 355 w 658"/>
              <a:gd name="T37" fmla="*/ 708 h 709"/>
              <a:gd name="T38" fmla="*/ 361 w 658"/>
              <a:gd name="T39" fmla="*/ 709 h 709"/>
              <a:gd name="T40" fmla="*/ 657 w 658"/>
              <a:gd name="T41" fmla="*/ 620 h 709"/>
              <a:gd name="T42" fmla="*/ 235 w 658"/>
              <a:gd name="T43" fmla="*/ 356 h 709"/>
              <a:gd name="T44" fmla="*/ 282 w 658"/>
              <a:gd name="T45" fmla="*/ 317 h 709"/>
              <a:gd name="T46" fmla="*/ 283 w 658"/>
              <a:gd name="T47" fmla="*/ 316 h 709"/>
              <a:gd name="T48" fmla="*/ 284 w 658"/>
              <a:gd name="T49" fmla="*/ 315 h 709"/>
              <a:gd name="T50" fmla="*/ 284 w 658"/>
              <a:gd name="T51" fmla="*/ 314 h 709"/>
              <a:gd name="T52" fmla="*/ 284 w 658"/>
              <a:gd name="T53" fmla="*/ 311 h 709"/>
              <a:gd name="T54" fmla="*/ 284 w 658"/>
              <a:gd name="T55" fmla="*/ 309 h 709"/>
              <a:gd name="T56" fmla="*/ 283 w 658"/>
              <a:gd name="T57" fmla="*/ 308 h 709"/>
              <a:gd name="T58" fmla="*/ 282 w 658"/>
              <a:gd name="T59" fmla="*/ 307 h 709"/>
              <a:gd name="T60" fmla="*/ 235 w 658"/>
              <a:gd name="T61" fmla="*/ 268 h 709"/>
              <a:gd name="T62" fmla="*/ 590 w 658"/>
              <a:gd name="T63" fmla="*/ 14 h 709"/>
              <a:gd name="T64" fmla="*/ 352 w 658"/>
              <a:gd name="T65" fmla="*/ 88 h 709"/>
              <a:gd name="T66" fmla="*/ 235 w 658"/>
              <a:gd name="T67" fmla="*/ 615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58" h="709">
                <a:moveTo>
                  <a:pt x="397" y="396"/>
                </a:moveTo>
                <a:cubicBezTo>
                  <a:pt x="397" y="420"/>
                  <a:pt x="412" y="439"/>
                  <a:pt x="430" y="439"/>
                </a:cubicBezTo>
                <a:cubicBezTo>
                  <a:pt x="449" y="439"/>
                  <a:pt x="463" y="420"/>
                  <a:pt x="463" y="396"/>
                </a:cubicBezTo>
                <a:cubicBezTo>
                  <a:pt x="463" y="371"/>
                  <a:pt x="449" y="352"/>
                  <a:pt x="430" y="352"/>
                </a:cubicBezTo>
                <a:cubicBezTo>
                  <a:pt x="412" y="352"/>
                  <a:pt x="397" y="371"/>
                  <a:pt x="397" y="396"/>
                </a:cubicBezTo>
                <a:close/>
                <a:moveTo>
                  <a:pt x="449" y="396"/>
                </a:moveTo>
                <a:cubicBezTo>
                  <a:pt x="449" y="412"/>
                  <a:pt x="440" y="425"/>
                  <a:pt x="430" y="425"/>
                </a:cubicBezTo>
                <a:cubicBezTo>
                  <a:pt x="420" y="425"/>
                  <a:pt x="411" y="412"/>
                  <a:pt x="411" y="396"/>
                </a:cubicBezTo>
                <a:cubicBezTo>
                  <a:pt x="411" y="380"/>
                  <a:pt x="420" y="366"/>
                  <a:pt x="430" y="366"/>
                </a:cubicBezTo>
                <a:cubicBezTo>
                  <a:pt x="440" y="366"/>
                  <a:pt x="449" y="380"/>
                  <a:pt x="449" y="396"/>
                </a:cubicBezTo>
                <a:close/>
                <a:moveTo>
                  <a:pt x="657" y="620"/>
                </a:moveTo>
                <a:cubicBezTo>
                  <a:pt x="656" y="616"/>
                  <a:pt x="652" y="614"/>
                  <a:pt x="648" y="615"/>
                </a:cubicBezTo>
                <a:cubicBezTo>
                  <a:pt x="366" y="693"/>
                  <a:pt x="366" y="693"/>
                  <a:pt x="366" y="693"/>
                </a:cubicBezTo>
                <a:cubicBezTo>
                  <a:pt x="366" y="93"/>
                  <a:pt x="366" y="93"/>
                  <a:pt x="366" y="93"/>
                </a:cubicBezTo>
                <a:cubicBezTo>
                  <a:pt x="641" y="14"/>
                  <a:pt x="641" y="14"/>
                  <a:pt x="641" y="14"/>
                </a:cubicBezTo>
                <a:cubicBezTo>
                  <a:pt x="645" y="13"/>
                  <a:pt x="647" y="10"/>
                  <a:pt x="647" y="7"/>
                </a:cubicBezTo>
                <a:cubicBezTo>
                  <a:pt x="646" y="3"/>
                  <a:pt x="643" y="0"/>
                  <a:pt x="640" y="0"/>
                </a:cubicBezTo>
                <a:cubicBezTo>
                  <a:pt x="228" y="0"/>
                  <a:pt x="228" y="0"/>
                  <a:pt x="228" y="0"/>
                </a:cubicBezTo>
                <a:cubicBezTo>
                  <a:pt x="224" y="0"/>
                  <a:pt x="221" y="4"/>
                  <a:pt x="221" y="7"/>
                </a:cubicBezTo>
                <a:cubicBezTo>
                  <a:pt x="221" y="256"/>
                  <a:pt x="221" y="256"/>
                  <a:pt x="221" y="256"/>
                </a:cubicBezTo>
                <a:cubicBezTo>
                  <a:pt x="156" y="203"/>
                  <a:pt x="156" y="203"/>
                  <a:pt x="156" y="203"/>
                </a:cubicBezTo>
                <a:cubicBezTo>
                  <a:pt x="153" y="200"/>
                  <a:pt x="149" y="201"/>
                  <a:pt x="146" y="204"/>
                </a:cubicBezTo>
                <a:cubicBezTo>
                  <a:pt x="144" y="207"/>
                  <a:pt x="144" y="211"/>
                  <a:pt x="147" y="213"/>
                </a:cubicBezTo>
                <a:cubicBezTo>
                  <a:pt x="258" y="305"/>
                  <a:pt x="258" y="305"/>
                  <a:pt x="258" y="305"/>
                </a:cubicBezTo>
                <a:cubicBezTo>
                  <a:pt x="7" y="305"/>
                  <a:pt x="7" y="305"/>
                  <a:pt x="7" y="305"/>
                </a:cubicBezTo>
                <a:cubicBezTo>
                  <a:pt x="3" y="305"/>
                  <a:pt x="0" y="308"/>
                  <a:pt x="0" y="312"/>
                </a:cubicBezTo>
                <a:cubicBezTo>
                  <a:pt x="0" y="316"/>
                  <a:pt x="3" y="319"/>
                  <a:pt x="7" y="319"/>
                </a:cubicBezTo>
                <a:cubicBezTo>
                  <a:pt x="258" y="319"/>
                  <a:pt x="258" y="319"/>
                  <a:pt x="258" y="319"/>
                </a:cubicBezTo>
                <a:cubicBezTo>
                  <a:pt x="147" y="411"/>
                  <a:pt x="147" y="411"/>
                  <a:pt x="147" y="411"/>
                </a:cubicBezTo>
                <a:cubicBezTo>
                  <a:pt x="144" y="413"/>
                  <a:pt x="144" y="418"/>
                  <a:pt x="146" y="421"/>
                </a:cubicBezTo>
                <a:cubicBezTo>
                  <a:pt x="148" y="422"/>
                  <a:pt x="150" y="423"/>
                  <a:pt x="152" y="423"/>
                </a:cubicBezTo>
                <a:cubicBezTo>
                  <a:pt x="153" y="423"/>
                  <a:pt x="155" y="423"/>
                  <a:pt x="156" y="422"/>
                </a:cubicBezTo>
                <a:cubicBezTo>
                  <a:pt x="221" y="368"/>
                  <a:pt x="221" y="368"/>
                  <a:pt x="221" y="368"/>
                </a:cubicBezTo>
                <a:cubicBezTo>
                  <a:pt x="221" y="622"/>
                  <a:pt x="221" y="622"/>
                  <a:pt x="221" y="622"/>
                </a:cubicBezTo>
                <a:cubicBezTo>
                  <a:pt x="221" y="626"/>
                  <a:pt x="224" y="629"/>
                  <a:pt x="228" y="629"/>
                </a:cubicBezTo>
                <a:cubicBezTo>
                  <a:pt x="352" y="629"/>
                  <a:pt x="352" y="629"/>
                  <a:pt x="352" y="629"/>
                </a:cubicBezTo>
                <a:cubicBezTo>
                  <a:pt x="352" y="702"/>
                  <a:pt x="352" y="702"/>
                  <a:pt x="352" y="702"/>
                </a:cubicBezTo>
                <a:cubicBezTo>
                  <a:pt x="352" y="704"/>
                  <a:pt x="353" y="706"/>
                  <a:pt x="355" y="708"/>
                </a:cubicBezTo>
                <a:cubicBezTo>
                  <a:pt x="356" y="709"/>
                  <a:pt x="358" y="709"/>
                  <a:pt x="359" y="709"/>
                </a:cubicBezTo>
                <a:cubicBezTo>
                  <a:pt x="360" y="709"/>
                  <a:pt x="360" y="709"/>
                  <a:pt x="361" y="709"/>
                </a:cubicBezTo>
                <a:cubicBezTo>
                  <a:pt x="652" y="629"/>
                  <a:pt x="652" y="629"/>
                  <a:pt x="652" y="629"/>
                </a:cubicBezTo>
                <a:cubicBezTo>
                  <a:pt x="656" y="628"/>
                  <a:pt x="658" y="624"/>
                  <a:pt x="657" y="620"/>
                </a:cubicBezTo>
                <a:close/>
                <a:moveTo>
                  <a:pt x="235" y="615"/>
                </a:moveTo>
                <a:cubicBezTo>
                  <a:pt x="235" y="356"/>
                  <a:pt x="235" y="356"/>
                  <a:pt x="235" y="356"/>
                </a:cubicBezTo>
                <a:cubicBezTo>
                  <a:pt x="282" y="318"/>
                  <a:pt x="282" y="318"/>
                  <a:pt x="282" y="318"/>
                </a:cubicBezTo>
                <a:cubicBezTo>
                  <a:pt x="282" y="317"/>
                  <a:pt x="282" y="317"/>
                  <a:pt x="282" y="317"/>
                </a:cubicBezTo>
                <a:cubicBezTo>
                  <a:pt x="282" y="317"/>
                  <a:pt x="283" y="317"/>
                  <a:pt x="283" y="317"/>
                </a:cubicBezTo>
                <a:cubicBezTo>
                  <a:pt x="283" y="317"/>
                  <a:pt x="283" y="316"/>
                  <a:pt x="283" y="316"/>
                </a:cubicBezTo>
                <a:cubicBezTo>
                  <a:pt x="283" y="316"/>
                  <a:pt x="284" y="316"/>
                  <a:pt x="284" y="315"/>
                </a:cubicBezTo>
                <a:cubicBezTo>
                  <a:pt x="284" y="315"/>
                  <a:pt x="284" y="315"/>
                  <a:pt x="284" y="315"/>
                </a:cubicBezTo>
                <a:cubicBezTo>
                  <a:pt x="284" y="315"/>
                  <a:pt x="284" y="314"/>
                  <a:pt x="284" y="314"/>
                </a:cubicBezTo>
                <a:cubicBezTo>
                  <a:pt x="284" y="314"/>
                  <a:pt x="284" y="314"/>
                  <a:pt x="284" y="314"/>
                </a:cubicBezTo>
                <a:cubicBezTo>
                  <a:pt x="285" y="313"/>
                  <a:pt x="285" y="313"/>
                  <a:pt x="285" y="312"/>
                </a:cubicBezTo>
                <a:cubicBezTo>
                  <a:pt x="285" y="312"/>
                  <a:pt x="285" y="311"/>
                  <a:pt x="284" y="311"/>
                </a:cubicBezTo>
                <a:cubicBezTo>
                  <a:pt x="284" y="311"/>
                  <a:pt x="284" y="310"/>
                  <a:pt x="284" y="310"/>
                </a:cubicBezTo>
                <a:cubicBezTo>
                  <a:pt x="284" y="310"/>
                  <a:pt x="284" y="310"/>
                  <a:pt x="284" y="309"/>
                </a:cubicBezTo>
                <a:cubicBezTo>
                  <a:pt x="284" y="309"/>
                  <a:pt x="284" y="309"/>
                  <a:pt x="284" y="309"/>
                </a:cubicBezTo>
                <a:cubicBezTo>
                  <a:pt x="284" y="309"/>
                  <a:pt x="283" y="308"/>
                  <a:pt x="283" y="308"/>
                </a:cubicBezTo>
                <a:cubicBezTo>
                  <a:pt x="283" y="308"/>
                  <a:pt x="283" y="308"/>
                  <a:pt x="283" y="308"/>
                </a:cubicBezTo>
                <a:cubicBezTo>
                  <a:pt x="283" y="307"/>
                  <a:pt x="282" y="307"/>
                  <a:pt x="282" y="307"/>
                </a:cubicBezTo>
                <a:cubicBezTo>
                  <a:pt x="282" y="307"/>
                  <a:pt x="282" y="307"/>
                  <a:pt x="282" y="307"/>
                </a:cubicBezTo>
                <a:cubicBezTo>
                  <a:pt x="235" y="268"/>
                  <a:pt x="235" y="268"/>
                  <a:pt x="235" y="268"/>
                </a:cubicBezTo>
                <a:cubicBezTo>
                  <a:pt x="235" y="14"/>
                  <a:pt x="235" y="14"/>
                  <a:pt x="235" y="14"/>
                </a:cubicBezTo>
                <a:cubicBezTo>
                  <a:pt x="590" y="14"/>
                  <a:pt x="590" y="14"/>
                  <a:pt x="590" y="14"/>
                </a:cubicBezTo>
                <a:cubicBezTo>
                  <a:pt x="357" y="81"/>
                  <a:pt x="357" y="81"/>
                  <a:pt x="357" y="81"/>
                </a:cubicBezTo>
                <a:cubicBezTo>
                  <a:pt x="354" y="82"/>
                  <a:pt x="352" y="85"/>
                  <a:pt x="352" y="88"/>
                </a:cubicBezTo>
                <a:cubicBezTo>
                  <a:pt x="352" y="615"/>
                  <a:pt x="352" y="615"/>
                  <a:pt x="352" y="615"/>
                </a:cubicBezTo>
                <a:lnTo>
                  <a:pt x="235" y="61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24097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00"/>
                            </p:stCondLst>
                            <p:childTnLst>
                              <p:par>
                                <p:cTn id="3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1000"/>
                            </p:stCondLst>
                            <p:childTnLst>
                              <p:par>
                                <p:cTn id="5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4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"/>
                            </p:stCondLst>
                            <p:childTnLst>
                              <p:par>
                                <p:cTn id="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000"/>
                            </p:stCondLst>
                            <p:childTnLst>
                              <p:par>
                                <p:cTn id="6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/>
      <p:bldP spid="50" grpId="0"/>
      <p:bldP spid="51" grpId="0"/>
      <p:bldP spid="52" grpId="0"/>
      <p:bldP spid="25" grpId="0"/>
      <p:bldP spid="5" grpId="0" animBg="1"/>
      <p:bldP spid="6" grpId="0" animBg="1"/>
      <p:bldP spid="7" grpId="0" animBg="1"/>
      <p:bldP spid="8" grpId="0" animBg="1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2E0369C-8BD8-4F2E-850B-79F5F3A3BD3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938" y="234468"/>
            <a:ext cx="11160000" cy="543813"/>
          </a:xfrm>
        </p:spPr>
        <p:txBody>
          <a:bodyPr/>
          <a:lstStyle/>
          <a:p>
            <a:r>
              <a:rPr lang="en-IN"/>
              <a:t>Your headline will go here</a:t>
            </a:r>
          </a:p>
          <a:p>
            <a:endParaRPr lang="en-IN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420A4EB-4AA3-4577-8D32-8B742F6D09D1}"/>
              </a:ext>
            </a:extLst>
          </p:cNvPr>
          <p:cNvSpPr/>
          <p:nvPr/>
        </p:nvSpPr>
        <p:spPr>
          <a:xfrm>
            <a:off x="515938" y="1062038"/>
            <a:ext cx="2690826" cy="47444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58A2434E-3B69-4A87-91D4-71321CD8363F}"/>
              </a:ext>
            </a:extLst>
          </p:cNvPr>
          <p:cNvCxnSpPr/>
          <p:nvPr/>
        </p:nvCxnSpPr>
        <p:spPr>
          <a:xfrm flipV="1">
            <a:off x="1807845" y="3348302"/>
            <a:ext cx="541477" cy="1076"/>
          </a:xfrm>
          <a:prstGeom prst="line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sp>
        <p:nvSpPr>
          <p:cNvPr id="95" name="Rectangle 94">
            <a:extLst>
              <a:ext uri="{FF2B5EF4-FFF2-40B4-BE49-F238E27FC236}">
                <a16:creationId xmlns:a16="http://schemas.microsoft.com/office/drawing/2014/main" id="{C6CBD045-8AA5-456A-AB98-C909FEE977A8}"/>
              </a:ext>
            </a:extLst>
          </p:cNvPr>
          <p:cNvSpPr/>
          <p:nvPr/>
        </p:nvSpPr>
        <p:spPr>
          <a:xfrm>
            <a:off x="6154738" y="1062038"/>
            <a:ext cx="2699372" cy="47444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A5EB88B0-8A59-4181-8C59-F338B0CE0989}"/>
              </a:ext>
            </a:extLst>
          </p:cNvPr>
          <p:cNvCxnSpPr/>
          <p:nvPr/>
        </p:nvCxnSpPr>
        <p:spPr>
          <a:xfrm flipH="1">
            <a:off x="7368919" y="2595251"/>
            <a:ext cx="458500" cy="651705"/>
          </a:xfrm>
          <a:prstGeom prst="line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sp>
        <p:nvSpPr>
          <p:cNvPr id="97" name="Rectangle 96">
            <a:extLst>
              <a:ext uri="{FF2B5EF4-FFF2-40B4-BE49-F238E27FC236}">
                <a16:creationId xmlns:a16="http://schemas.microsoft.com/office/drawing/2014/main" id="{34DE127C-ACA1-4D73-858D-A2A217EF90DE}"/>
              </a:ext>
            </a:extLst>
          </p:cNvPr>
          <p:cNvSpPr/>
          <p:nvPr/>
        </p:nvSpPr>
        <p:spPr>
          <a:xfrm>
            <a:off x="8995782" y="1062038"/>
            <a:ext cx="2680156" cy="47444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F95C90DC-6500-4138-97AA-50700F99A62F}"/>
              </a:ext>
            </a:extLst>
          </p:cNvPr>
          <p:cNvCxnSpPr/>
          <p:nvPr/>
        </p:nvCxnSpPr>
        <p:spPr>
          <a:xfrm flipH="1">
            <a:off x="1462804" y="2329237"/>
            <a:ext cx="19706" cy="2009663"/>
          </a:xfrm>
          <a:prstGeom prst="line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67299ADF-2F38-41ED-8B12-93F03B4E5FA9}"/>
              </a:ext>
            </a:extLst>
          </p:cNvPr>
          <p:cNvCxnSpPr/>
          <p:nvPr/>
        </p:nvCxnSpPr>
        <p:spPr>
          <a:xfrm flipH="1">
            <a:off x="6881501" y="3409874"/>
            <a:ext cx="362290" cy="812576"/>
          </a:xfrm>
          <a:prstGeom prst="line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sp>
        <p:nvSpPr>
          <p:cNvPr id="100" name="Rectangle 99">
            <a:extLst>
              <a:ext uri="{FF2B5EF4-FFF2-40B4-BE49-F238E27FC236}">
                <a16:creationId xmlns:a16="http://schemas.microsoft.com/office/drawing/2014/main" id="{AA9EF39F-0DD2-42E4-8320-9E14CCCF71F8}"/>
              </a:ext>
            </a:extLst>
          </p:cNvPr>
          <p:cNvSpPr/>
          <p:nvPr/>
        </p:nvSpPr>
        <p:spPr>
          <a:xfrm>
            <a:off x="3346397" y="1062038"/>
            <a:ext cx="2685080" cy="47444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54E817F2-8354-4850-8B4C-2E228F242681}"/>
              </a:ext>
            </a:extLst>
          </p:cNvPr>
          <p:cNvCxnSpPr/>
          <p:nvPr/>
        </p:nvCxnSpPr>
        <p:spPr>
          <a:xfrm>
            <a:off x="3053657" y="3330146"/>
            <a:ext cx="7650653" cy="0"/>
          </a:xfrm>
          <a:prstGeom prst="line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dash"/>
          </a:ln>
          <a:effectLst/>
        </p:spPr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0BDD0E5E-FC51-470F-B27D-AFF7C77EBB44}"/>
              </a:ext>
            </a:extLst>
          </p:cNvPr>
          <p:cNvCxnSpPr/>
          <p:nvPr/>
        </p:nvCxnSpPr>
        <p:spPr>
          <a:xfrm>
            <a:off x="6734505" y="2546693"/>
            <a:ext cx="509286" cy="729205"/>
          </a:xfrm>
          <a:prstGeom prst="line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76555580-93A8-47CE-B0BA-1504D2DF8C28}"/>
              </a:ext>
            </a:extLst>
          </p:cNvPr>
          <p:cNvCxnSpPr/>
          <p:nvPr/>
        </p:nvCxnSpPr>
        <p:spPr>
          <a:xfrm flipH="1">
            <a:off x="4078714" y="3528862"/>
            <a:ext cx="492060" cy="673515"/>
          </a:xfrm>
          <a:prstGeom prst="line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200D1B81-0F25-4483-87E3-F38AE4A46A30}"/>
              </a:ext>
            </a:extLst>
          </p:cNvPr>
          <p:cNvGrpSpPr/>
          <p:nvPr/>
        </p:nvGrpSpPr>
        <p:grpSpPr>
          <a:xfrm>
            <a:off x="782772" y="1645035"/>
            <a:ext cx="1521269" cy="749331"/>
            <a:chOff x="1179914" y="1111345"/>
            <a:chExt cx="1159838" cy="571301"/>
          </a:xfrm>
        </p:grpSpPr>
        <p:pic>
          <p:nvPicPr>
            <p:cNvPr id="106" name="Picture 105">
              <a:extLst>
                <a:ext uri="{FF2B5EF4-FFF2-40B4-BE49-F238E27FC236}">
                  <a16:creationId xmlns:a16="http://schemas.microsoft.com/office/drawing/2014/main" id="{F298E1D6-2854-4BA0-8C3E-B80EF484571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duotone>
                <a:srgbClr val="EEECE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70798" y="1111345"/>
              <a:ext cx="164898" cy="259862"/>
            </a:xfrm>
            <a:prstGeom prst="rect">
              <a:avLst/>
            </a:prstGeom>
          </p:spPr>
        </p:pic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5F4E557A-8B22-4D91-B0F5-8E362D65FFF3}"/>
                </a:ext>
              </a:extLst>
            </p:cNvPr>
            <p:cNvSpPr txBox="1"/>
            <p:nvPr/>
          </p:nvSpPr>
          <p:spPr>
            <a:xfrm>
              <a:off x="1179914" y="1365864"/>
              <a:ext cx="1159838" cy="316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buClr>
                  <a:prstClr val="white">
                    <a:lumMod val="50000"/>
                  </a:prstClr>
                </a:buClr>
                <a:defRPr/>
              </a:pPr>
              <a:r>
                <a:rPr lang="da-DK" sz="1050" b="0" kern="0">
                  <a:solidFill>
                    <a:prstClr val="black">
                      <a:lumMod val="50000"/>
                      <a:lumOff val="50000"/>
                    </a:prstClr>
                  </a:solidFill>
                  <a:cs typeface="+mn-cs"/>
                </a:rPr>
                <a:t>Lorem ipsum dolor sit amet</a:t>
              </a:r>
              <a:endParaRPr lang="en-US" sz="1100" b="0" kern="0">
                <a:solidFill>
                  <a:prstClr val="black">
                    <a:lumMod val="50000"/>
                    <a:lumOff val="50000"/>
                  </a:prstClr>
                </a:solidFill>
                <a:cs typeface="+mn-cs"/>
              </a:endParaRPr>
            </a:p>
          </p:txBody>
        </p:sp>
      </p:grp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9F41B915-C198-42DF-BF7F-45A477CE57CA}"/>
              </a:ext>
            </a:extLst>
          </p:cNvPr>
          <p:cNvCxnSpPr/>
          <p:nvPr/>
        </p:nvCxnSpPr>
        <p:spPr>
          <a:xfrm flipH="1" flipV="1">
            <a:off x="1880480" y="3615320"/>
            <a:ext cx="396173" cy="413017"/>
          </a:xfrm>
          <a:prstGeom prst="line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0310560F-666C-4CF0-B096-90FCD377523C}"/>
              </a:ext>
            </a:extLst>
          </p:cNvPr>
          <p:cNvCxnSpPr/>
          <p:nvPr/>
        </p:nvCxnSpPr>
        <p:spPr>
          <a:xfrm flipV="1">
            <a:off x="1807845" y="2686679"/>
            <a:ext cx="467943" cy="365436"/>
          </a:xfrm>
          <a:prstGeom prst="line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sp>
        <p:nvSpPr>
          <p:cNvPr id="110" name="Oval 109">
            <a:extLst>
              <a:ext uri="{FF2B5EF4-FFF2-40B4-BE49-F238E27FC236}">
                <a16:creationId xmlns:a16="http://schemas.microsoft.com/office/drawing/2014/main" id="{B79BFBB5-5205-44E5-9237-C6C43F8A46AD}"/>
              </a:ext>
            </a:extLst>
          </p:cNvPr>
          <p:cNvSpPr/>
          <p:nvPr/>
        </p:nvSpPr>
        <p:spPr>
          <a:xfrm>
            <a:off x="792884" y="2634771"/>
            <a:ext cx="1379249" cy="1379249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E53D6F16-D6DF-4C89-9196-D37446CB5EE9}"/>
              </a:ext>
            </a:extLst>
          </p:cNvPr>
          <p:cNvSpPr txBox="1"/>
          <p:nvPr/>
        </p:nvSpPr>
        <p:spPr>
          <a:xfrm>
            <a:off x="792884" y="2908105"/>
            <a:ext cx="1434616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100" b="0" i="1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tep1</a:t>
            </a:r>
          </a:p>
          <a:p>
            <a:pPr algn="ctr">
              <a:lnSpc>
                <a:spcPct val="150000"/>
              </a:lnSpc>
              <a:spcBef>
                <a:spcPts val="0"/>
              </a:spcBef>
            </a:pPr>
            <a:r>
              <a:rPr lang="en-US" sz="120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DISCOVERY</a:t>
            </a:r>
          </a:p>
          <a:p>
            <a:pPr algn="ctr">
              <a:spcBef>
                <a:spcPts val="0"/>
              </a:spcBef>
            </a:pPr>
            <a:r>
              <a:rPr lang="en-US" sz="1200" b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ONTEXTUAL </a:t>
            </a:r>
          </a:p>
        </p:txBody>
      </p:sp>
      <p:pic>
        <p:nvPicPr>
          <p:cNvPr id="112" name="Picture 111">
            <a:extLst>
              <a:ext uri="{FF2B5EF4-FFF2-40B4-BE49-F238E27FC236}">
                <a16:creationId xmlns:a16="http://schemas.microsoft.com/office/drawing/2014/main" id="{D64C2900-A9F5-4D34-ADAD-5918D5120D5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2935" y="2123014"/>
            <a:ext cx="331939" cy="251688"/>
          </a:xfrm>
          <a:prstGeom prst="rect">
            <a:avLst/>
          </a:prstGeom>
        </p:spPr>
      </p:pic>
      <p:sp>
        <p:nvSpPr>
          <p:cNvPr id="113" name="TextBox 112">
            <a:extLst>
              <a:ext uri="{FF2B5EF4-FFF2-40B4-BE49-F238E27FC236}">
                <a16:creationId xmlns:a16="http://schemas.microsoft.com/office/drawing/2014/main" id="{F51092B2-56D5-40B9-BA62-55DB4462544D}"/>
              </a:ext>
            </a:extLst>
          </p:cNvPr>
          <p:cNvSpPr txBox="1"/>
          <p:nvPr/>
        </p:nvSpPr>
        <p:spPr>
          <a:xfrm>
            <a:off x="2304040" y="2311909"/>
            <a:ext cx="6078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a-DK" sz="1100" b="0" kern="0">
                <a:solidFill>
                  <a:prstClr val="black">
                    <a:lumMod val="50000"/>
                    <a:lumOff val="50000"/>
                  </a:prstClr>
                </a:solidFill>
                <a:cs typeface="+mn-cs"/>
              </a:rPr>
              <a:t>Lorem</a:t>
            </a:r>
            <a:endParaRPr lang="en-US" sz="1100" kern="0">
              <a:solidFill>
                <a:prstClr val="black">
                  <a:lumMod val="50000"/>
                  <a:lumOff val="50000"/>
                </a:prstClr>
              </a:solidFill>
              <a:cs typeface="+mn-cs"/>
            </a:endParaRP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3388603-BAB8-47C0-B92F-7D2ADB368586}"/>
              </a:ext>
            </a:extLst>
          </p:cNvPr>
          <p:cNvGrpSpPr/>
          <p:nvPr/>
        </p:nvGrpSpPr>
        <p:grpSpPr>
          <a:xfrm>
            <a:off x="1591839" y="4295304"/>
            <a:ext cx="1845568" cy="685325"/>
            <a:chOff x="964422" y="3651870"/>
            <a:chExt cx="1407089" cy="522502"/>
          </a:xfrm>
        </p:grpSpPr>
        <p:pic>
          <p:nvPicPr>
            <p:cNvPr id="115" name="Picture 114">
              <a:extLst>
                <a:ext uri="{FF2B5EF4-FFF2-40B4-BE49-F238E27FC236}">
                  <a16:creationId xmlns:a16="http://schemas.microsoft.com/office/drawing/2014/main" id="{40F24176-A307-41E6-AC5E-761C705A71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duotone>
                <a:srgbClr val="EEECE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80735" y="3651870"/>
              <a:ext cx="195346" cy="261099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34CF9753-B920-4920-A4A6-133DC3220132}"/>
                </a:ext>
              </a:extLst>
            </p:cNvPr>
            <p:cNvSpPr txBox="1"/>
            <p:nvPr/>
          </p:nvSpPr>
          <p:spPr>
            <a:xfrm>
              <a:off x="964422" y="3974916"/>
              <a:ext cx="1407089" cy="1994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da-DK" sz="1100" b="0" kern="0">
                  <a:solidFill>
                    <a:prstClr val="black">
                      <a:lumMod val="50000"/>
                      <a:lumOff val="50000"/>
                    </a:prstClr>
                  </a:solidFill>
                  <a:cs typeface="+mn-cs"/>
                </a:rPr>
                <a:t>Lorem ipsum</a:t>
              </a:r>
              <a:endParaRPr lang="en-US" sz="1100" kern="0">
                <a:solidFill>
                  <a:prstClr val="black">
                    <a:lumMod val="50000"/>
                    <a:lumOff val="50000"/>
                  </a:prstClr>
                </a:solidFill>
                <a:cs typeface="+mn-cs"/>
              </a:endParaRPr>
            </a:p>
          </p:txBody>
        </p:sp>
      </p:grp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CB3FA502-90B3-42FE-BCB3-B74CEAAAE66C}"/>
              </a:ext>
            </a:extLst>
          </p:cNvPr>
          <p:cNvCxnSpPr/>
          <p:nvPr/>
        </p:nvCxnSpPr>
        <p:spPr>
          <a:xfrm flipH="1" flipV="1">
            <a:off x="4609043" y="3394057"/>
            <a:ext cx="601410" cy="712350"/>
          </a:xfrm>
          <a:prstGeom prst="line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6B4540F6-E425-4392-8B18-1120476E59DF}"/>
              </a:ext>
            </a:extLst>
          </p:cNvPr>
          <p:cNvCxnSpPr/>
          <p:nvPr/>
        </p:nvCxnSpPr>
        <p:spPr>
          <a:xfrm>
            <a:off x="4570775" y="2429300"/>
            <a:ext cx="13137" cy="980574"/>
          </a:xfrm>
          <a:prstGeom prst="line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sp>
        <p:nvSpPr>
          <p:cNvPr id="119" name="Oval 118">
            <a:extLst>
              <a:ext uri="{FF2B5EF4-FFF2-40B4-BE49-F238E27FC236}">
                <a16:creationId xmlns:a16="http://schemas.microsoft.com/office/drawing/2014/main" id="{DE82A93D-46AB-4CE9-8523-E50CC7330E18}"/>
              </a:ext>
            </a:extLst>
          </p:cNvPr>
          <p:cNvSpPr/>
          <p:nvPr/>
        </p:nvSpPr>
        <p:spPr>
          <a:xfrm>
            <a:off x="3891737" y="2632220"/>
            <a:ext cx="1384351" cy="1384351"/>
          </a:xfrm>
          <a:prstGeom prst="ellipse">
            <a:avLst/>
          </a:prstGeom>
          <a:solidFill>
            <a:schemeClr val="tx2">
              <a:lumMod val="75000"/>
              <a:lumOff val="2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88308AB5-58CD-4486-90EB-2D96E2399F19}"/>
              </a:ext>
            </a:extLst>
          </p:cNvPr>
          <p:cNvSpPr txBox="1"/>
          <p:nvPr/>
        </p:nvSpPr>
        <p:spPr>
          <a:xfrm>
            <a:off x="3891736" y="2917628"/>
            <a:ext cx="1434616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050" b="0" i="1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tep2</a:t>
            </a:r>
          </a:p>
          <a:p>
            <a:pPr algn="ctr">
              <a:lnSpc>
                <a:spcPct val="150000"/>
              </a:lnSpc>
              <a:spcBef>
                <a:spcPts val="0"/>
              </a:spcBef>
            </a:pPr>
            <a:r>
              <a:rPr lang="en-US" sz="120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NSIGHT</a:t>
            </a:r>
          </a:p>
          <a:p>
            <a:pPr algn="ctr">
              <a:spcBef>
                <a:spcPts val="0"/>
              </a:spcBef>
            </a:pPr>
            <a:r>
              <a:rPr lang="en-US" sz="1200" b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NTERPRET</a:t>
            </a: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7175F44B-D083-4343-A34A-5E8417FBD11C}"/>
              </a:ext>
            </a:extLst>
          </p:cNvPr>
          <p:cNvGrpSpPr/>
          <p:nvPr/>
        </p:nvGrpSpPr>
        <p:grpSpPr>
          <a:xfrm>
            <a:off x="2209593" y="3137039"/>
            <a:ext cx="1047082" cy="664129"/>
            <a:chOff x="592963" y="3219822"/>
            <a:chExt cx="661115" cy="419323"/>
          </a:xfrm>
        </p:grpSpPr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F118873B-97FE-4A39-94FA-6E3D29CDCA4A}"/>
                </a:ext>
              </a:extLst>
            </p:cNvPr>
            <p:cNvSpPr txBox="1"/>
            <p:nvPr/>
          </p:nvSpPr>
          <p:spPr>
            <a:xfrm>
              <a:off x="592963" y="3473968"/>
              <a:ext cx="661115" cy="1651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da-DK" sz="1100" b="0" kern="0">
                  <a:solidFill>
                    <a:prstClr val="black">
                      <a:lumMod val="50000"/>
                      <a:lumOff val="50000"/>
                    </a:prstClr>
                  </a:solidFill>
                  <a:cs typeface="+mn-cs"/>
                </a:rPr>
                <a:t>Lorem ipsum</a:t>
              </a:r>
              <a:endParaRPr lang="en-US" sz="1100" kern="0">
                <a:solidFill>
                  <a:prstClr val="black">
                    <a:lumMod val="50000"/>
                    <a:lumOff val="50000"/>
                  </a:prstClr>
                </a:solidFill>
                <a:cs typeface="+mn-cs"/>
              </a:endParaRPr>
            </a:p>
          </p:txBody>
        </p:sp>
        <p:pic>
          <p:nvPicPr>
            <p:cNvPr id="123" name="Picture 122">
              <a:extLst>
                <a:ext uri="{FF2B5EF4-FFF2-40B4-BE49-F238E27FC236}">
                  <a16:creationId xmlns:a16="http://schemas.microsoft.com/office/drawing/2014/main" id="{BCD8FA1C-2DC0-4EF9-8400-A1A40FC2175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rgbClr val="EEECE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5576" y="3219822"/>
              <a:ext cx="370319" cy="233885"/>
            </a:xfrm>
            <a:prstGeom prst="rect">
              <a:avLst/>
            </a:prstGeom>
          </p:spPr>
        </p:pic>
      </p:grpSp>
      <p:pic>
        <p:nvPicPr>
          <p:cNvPr id="124" name="Picture 123">
            <a:extLst>
              <a:ext uri="{FF2B5EF4-FFF2-40B4-BE49-F238E27FC236}">
                <a16:creationId xmlns:a16="http://schemas.microsoft.com/office/drawing/2014/main" id="{977BA788-9DFA-4D05-BE50-90AC5E7D8C9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0968" y="4484196"/>
            <a:ext cx="431942" cy="431942"/>
          </a:xfrm>
          <a:prstGeom prst="rect">
            <a:avLst/>
          </a:prstGeom>
        </p:spPr>
      </p:pic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ED4E25F0-C057-456F-BA99-51C281355A6F}"/>
              </a:ext>
            </a:extLst>
          </p:cNvPr>
          <p:cNvCxnSpPr/>
          <p:nvPr/>
        </p:nvCxnSpPr>
        <p:spPr>
          <a:xfrm flipH="1" flipV="1">
            <a:off x="7243792" y="3409877"/>
            <a:ext cx="583627" cy="455743"/>
          </a:xfrm>
          <a:prstGeom prst="line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sp>
        <p:nvSpPr>
          <p:cNvPr id="126" name="Oval 125">
            <a:extLst>
              <a:ext uri="{FF2B5EF4-FFF2-40B4-BE49-F238E27FC236}">
                <a16:creationId xmlns:a16="http://schemas.microsoft.com/office/drawing/2014/main" id="{4DF879CF-960D-4ABC-B3E0-A648E0BE9F32}"/>
              </a:ext>
            </a:extLst>
          </p:cNvPr>
          <p:cNvSpPr/>
          <p:nvPr/>
        </p:nvSpPr>
        <p:spPr>
          <a:xfrm>
            <a:off x="6554166" y="2634771"/>
            <a:ext cx="1379249" cy="1379249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918D0E58-7B84-454A-AEB4-2E286142CF7D}"/>
              </a:ext>
            </a:extLst>
          </p:cNvPr>
          <p:cNvSpPr txBox="1"/>
          <p:nvPr/>
        </p:nvSpPr>
        <p:spPr>
          <a:xfrm>
            <a:off x="6554166" y="2901458"/>
            <a:ext cx="1434615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100" b="0" i="1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tep3</a:t>
            </a:r>
          </a:p>
          <a:p>
            <a:pPr algn="ctr">
              <a:lnSpc>
                <a:spcPct val="150000"/>
              </a:lnSpc>
              <a:spcBef>
                <a:spcPts val="0"/>
              </a:spcBef>
            </a:pPr>
            <a:r>
              <a:rPr lang="en-US" sz="120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DESIGN</a:t>
            </a:r>
          </a:p>
          <a:p>
            <a:pPr algn="ctr">
              <a:spcBef>
                <a:spcPts val="0"/>
              </a:spcBef>
            </a:pPr>
            <a:r>
              <a:rPr lang="en-US" sz="1200" b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NNOVATE</a:t>
            </a:r>
            <a:endParaRPr lang="en-US" sz="1200">
              <a:solidFill>
                <a:prstClr val="black"/>
              </a:solidFill>
              <a:cs typeface="+mn-cs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67295BAC-F4D5-485E-9665-4EBA723E9571}"/>
              </a:ext>
            </a:extLst>
          </p:cNvPr>
          <p:cNvSpPr txBox="1"/>
          <p:nvPr/>
        </p:nvSpPr>
        <p:spPr>
          <a:xfrm>
            <a:off x="6053903" y="2113390"/>
            <a:ext cx="16679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da-DK" sz="1100" b="0" kern="0">
                <a:solidFill>
                  <a:prstClr val="black">
                    <a:lumMod val="50000"/>
                    <a:lumOff val="50000"/>
                  </a:prstClr>
                </a:solidFill>
                <a:cs typeface="+mn-cs"/>
              </a:rPr>
              <a:t>Lorem ipsum dolor</a:t>
            </a:r>
            <a:endParaRPr lang="en-US" sz="1100" kern="0">
              <a:solidFill>
                <a:prstClr val="black">
                  <a:lumMod val="50000"/>
                  <a:lumOff val="50000"/>
                </a:prstClr>
              </a:solidFill>
              <a:cs typeface="+mn-cs"/>
            </a:endParaRPr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F94DFB6F-D1DD-4D82-BA64-3B4AD60AAE6F}"/>
              </a:ext>
            </a:extLst>
          </p:cNvPr>
          <p:cNvCxnSpPr/>
          <p:nvPr/>
        </p:nvCxnSpPr>
        <p:spPr>
          <a:xfrm flipH="1">
            <a:off x="9803642" y="2346565"/>
            <a:ext cx="18326" cy="1939166"/>
          </a:xfrm>
          <a:prstGeom prst="line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sp>
        <p:nvSpPr>
          <p:cNvPr id="131" name="Oval 130">
            <a:extLst>
              <a:ext uri="{FF2B5EF4-FFF2-40B4-BE49-F238E27FC236}">
                <a16:creationId xmlns:a16="http://schemas.microsoft.com/office/drawing/2014/main" id="{86D4A1AD-C4D2-46BF-A614-A46ECDEF89CA}"/>
              </a:ext>
            </a:extLst>
          </p:cNvPr>
          <p:cNvSpPr/>
          <p:nvPr/>
        </p:nvSpPr>
        <p:spPr>
          <a:xfrm>
            <a:off x="9104242" y="2634771"/>
            <a:ext cx="1379249" cy="137924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2A9E13CD-244A-4DAB-A9AE-D508FFDDAB9A}"/>
              </a:ext>
            </a:extLst>
          </p:cNvPr>
          <p:cNvSpPr txBox="1"/>
          <p:nvPr/>
        </p:nvSpPr>
        <p:spPr>
          <a:xfrm>
            <a:off x="9086334" y="2878592"/>
            <a:ext cx="14346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100" b="0" i="1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tep4</a:t>
            </a:r>
          </a:p>
          <a:p>
            <a:pPr algn="ctr">
              <a:lnSpc>
                <a:spcPct val="150000"/>
              </a:lnSpc>
              <a:spcBef>
                <a:spcPts val="0"/>
              </a:spcBef>
            </a:pPr>
            <a:r>
              <a:rPr lang="en-US" sz="120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DEPLOY</a:t>
            </a:r>
          </a:p>
          <a:p>
            <a:pPr algn="ctr">
              <a:spcBef>
                <a:spcPts val="0"/>
              </a:spcBef>
            </a:pPr>
            <a:r>
              <a:rPr lang="en-US" sz="1100" b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DELIVER</a:t>
            </a:r>
            <a:endParaRPr lang="en-US">
              <a:solidFill>
                <a:prstClr val="black"/>
              </a:solidFill>
              <a:cs typeface="+mn-cs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7A8BB6D6-6D98-4BEA-9902-51B333F5CA82}"/>
              </a:ext>
            </a:extLst>
          </p:cNvPr>
          <p:cNvSpPr txBox="1"/>
          <p:nvPr/>
        </p:nvSpPr>
        <p:spPr>
          <a:xfrm>
            <a:off x="10590236" y="3350829"/>
            <a:ext cx="108570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prstClr val="white">
                  <a:lumMod val="50000"/>
                </a:prstClr>
              </a:buClr>
              <a:defRPr/>
            </a:pPr>
            <a:r>
              <a:rPr lang="da-DK" sz="1050" b="0" kern="0">
                <a:solidFill>
                  <a:prstClr val="black">
                    <a:lumMod val="50000"/>
                    <a:lumOff val="50000"/>
                  </a:prstClr>
                </a:solidFill>
                <a:cs typeface="+mn-cs"/>
              </a:rPr>
              <a:t>Lorem ipsum dolor sit amet</a:t>
            </a:r>
            <a:endParaRPr lang="en-US" sz="1050" b="0" kern="0">
              <a:solidFill>
                <a:prstClr val="black">
                  <a:lumMod val="50000"/>
                  <a:lumOff val="50000"/>
                </a:prstClr>
              </a:solidFill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566A1B6E-DE1C-45B9-AC73-02F296BA61D2}"/>
              </a:ext>
            </a:extLst>
          </p:cNvPr>
          <p:cNvSpPr txBox="1"/>
          <p:nvPr/>
        </p:nvSpPr>
        <p:spPr>
          <a:xfrm>
            <a:off x="7410835" y="2311909"/>
            <a:ext cx="16558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da-DK" sz="1100" b="0" kern="0">
                <a:solidFill>
                  <a:prstClr val="black">
                    <a:lumMod val="50000"/>
                    <a:lumOff val="50000"/>
                  </a:prstClr>
                </a:solidFill>
                <a:cs typeface="+mn-cs"/>
              </a:rPr>
              <a:t>Lorem ipsum</a:t>
            </a:r>
            <a:endParaRPr lang="en-US" sz="1100" kern="0">
              <a:solidFill>
                <a:prstClr val="black">
                  <a:lumMod val="50000"/>
                  <a:lumOff val="50000"/>
                </a:prstClr>
              </a:solidFill>
              <a:cs typeface="+mn-cs"/>
            </a:endParaRPr>
          </a:p>
        </p:txBody>
      </p:sp>
      <p:sp>
        <p:nvSpPr>
          <p:cNvPr id="135" name="Right Arrow 42">
            <a:extLst>
              <a:ext uri="{FF2B5EF4-FFF2-40B4-BE49-F238E27FC236}">
                <a16:creationId xmlns:a16="http://schemas.microsoft.com/office/drawing/2014/main" id="{472E710B-EF3B-4317-9479-8FFAF0D6F251}"/>
              </a:ext>
            </a:extLst>
          </p:cNvPr>
          <p:cNvSpPr/>
          <p:nvPr/>
        </p:nvSpPr>
        <p:spPr>
          <a:xfrm rot="12060000" flipH="1">
            <a:off x="2224888" y="2052280"/>
            <a:ext cx="153426" cy="113787"/>
          </a:xfrm>
          <a:prstGeom prst="rightArrow">
            <a:avLst/>
          </a:prstGeom>
          <a:solidFill>
            <a:srgbClr val="0065A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1C1FBE19-F4B9-4B3D-8AD8-033119A14A37}"/>
              </a:ext>
            </a:extLst>
          </p:cNvPr>
          <p:cNvSpPr txBox="1"/>
          <p:nvPr/>
        </p:nvSpPr>
        <p:spPr>
          <a:xfrm>
            <a:off x="3845316" y="2077291"/>
            <a:ext cx="15052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prstClr val="white">
                  <a:lumMod val="50000"/>
                </a:prstClr>
              </a:buClr>
              <a:defRPr/>
            </a:pPr>
            <a:r>
              <a:rPr lang="da-DK" sz="1100" b="0" kern="0">
                <a:solidFill>
                  <a:prstClr val="black">
                    <a:lumMod val="50000"/>
                    <a:lumOff val="50000"/>
                  </a:prstClr>
                </a:solidFill>
                <a:cs typeface="+mn-cs"/>
              </a:rPr>
              <a:t>Lorem ipsum dolor sit amet</a:t>
            </a:r>
            <a:endParaRPr lang="en-US" sz="1100" b="0" kern="0">
              <a:solidFill>
                <a:prstClr val="black">
                  <a:lumMod val="50000"/>
                  <a:lumOff val="50000"/>
                </a:prstClr>
              </a:solidFill>
              <a:cs typeface="+mn-cs"/>
            </a:endParaRPr>
          </a:p>
        </p:txBody>
      </p:sp>
      <p:pic>
        <p:nvPicPr>
          <p:cNvPr id="137" name="Picture 136">
            <a:extLst>
              <a:ext uri="{FF2B5EF4-FFF2-40B4-BE49-F238E27FC236}">
                <a16:creationId xmlns:a16="http://schemas.microsoft.com/office/drawing/2014/main" id="{8025F2CA-01B1-4866-9F77-516B686015D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2268" y="1519815"/>
            <a:ext cx="451359" cy="427717"/>
          </a:xfrm>
          <a:prstGeom prst="rect">
            <a:avLst/>
          </a:prstGeom>
        </p:spPr>
      </p:pic>
      <p:pic>
        <p:nvPicPr>
          <p:cNvPr id="138" name="Picture 137">
            <a:extLst>
              <a:ext uri="{FF2B5EF4-FFF2-40B4-BE49-F238E27FC236}">
                <a16:creationId xmlns:a16="http://schemas.microsoft.com/office/drawing/2014/main" id="{11BB591C-17F4-4285-84F2-866981F59E5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7706" y="4200854"/>
            <a:ext cx="429012" cy="429012"/>
          </a:xfrm>
          <a:prstGeom prst="rect">
            <a:avLst/>
          </a:prstGeom>
        </p:spPr>
      </p:pic>
      <p:sp>
        <p:nvSpPr>
          <p:cNvPr id="139" name="TextBox 138">
            <a:extLst>
              <a:ext uri="{FF2B5EF4-FFF2-40B4-BE49-F238E27FC236}">
                <a16:creationId xmlns:a16="http://schemas.microsoft.com/office/drawing/2014/main" id="{D03BD396-637A-44EF-840B-C8545FCF2E1E}"/>
              </a:ext>
            </a:extLst>
          </p:cNvPr>
          <p:cNvSpPr txBox="1"/>
          <p:nvPr/>
        </p:nvSpPr>
        <p:spPr>
          <a:xfrm>
            <a:off x="634560" y="4940429"/>
            <a:ext cx="16059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da-DK" sz="1100" b="0" kern="0">
                <a:solidFill>
                  <a:prstClr val="black">
                    <a:lumMod val="50000"/>
                    <a:lumOff val="50000"/>
                  </a:prstClr>
                </a:solidFill>
                <a:cs typeface="+mn-cs"/>
              </a:rPr>
              <a:t>Lorem ipsum dolor sit amet</a:t>
            </a:r>
            <a:endParaRPr lang="en-US" sz="1100" kern="0">
              <a:solidFill>
                <a:prstClr val="black">
                  <a:lumMod val="50000"/>
                  <a:lumOff val="50000"/>
                </a:prstClr>
              </a:solidFill>
              <a:cs typeface="+mn-cs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75E12740-9D74-4DC6-A4D7-4AFB7AE71CB5}"/>
              </a:ext>
            </a:extLst>
          </p:cNvPr>
          <p:cNvSpPr txBox="1"/>
          <p:nvPr/>
        </p:nvSpPr>
        <p:spPr>
          <a:xfrm>
            <a:off x="4570395" y="4589455"/>
            <a:ext cx="16059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da-DK" sz="1100" b="0" kern="0">
                <a:solidFill>
                  <a:prstClr val="black">
                    <a:lumMod val="50000"/>
                    <a:lumOff val="50000"/>
                  </a:prstClr>
                </a:solidFill>
                <a:cs typeface="+mn-cs"/>
              </a:rPr>
              <a:t>Lorem ipsum dolor sit amet</a:t>
            </a:r>
            <a:endParaRPr lang="en-US" sz="1100" kern="0">
              <a:solidFill>
                <a:prstClr val="black">
                  <a:lumMod val="50000"/>
                  <a:lumOff val="50000"/>
                </a:prstClr>
              </a:solidFill>
              <a:cs typeface="+mn-cs"/>
            </a:endParaRPr>
          </a:p>
        </p:txBody>
      </p: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39746C73-CBD2-4F17-A2A9-08F0E71EA9B6}"/>
              </a:ext>
            </a:extLst>
          </p:cNvPr>
          <p:cNvGrpSpPr/>
          <p:nvPr/>
        </p:nvGrpSpPr>
        <p:grpSpPr>
          <a:xfrm>
            <a:off x="3329710" y="4248778"/>
            <a:ext cx="1047082" cy="789495"/>
            <a:chOff x="806844" y="3679213"/>
            <a:chExt cx="998947" cy="753202"/>
          </a:xfrm>
        </p:grpSpPr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69C104EF-2449-4620-9334-1DC18F1B8A4C}"/>
                </a:ext>
              </a:extLst>
            </p:cNvPr>
            <p:cNvSpPr txBox="1"/>
            <p:nvPr/>
          </p:nvSpPr>
          <p:spPr>
            <a:xfrm>
              <a:off x="806844" y="4182831"/>
              <a:ext cx="998947" cy="2495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da-DK" sz="1100" b="0" kern="0">
                  <a:solidFill>
                    <a:prstClr val="black">
                      <a:lumMod val="50000"/>
                      <a:lumOff val="50000"/>
                    </a:prstClr>
                  </a:solidFill>
                  <a:cs typeface="+mn-cs"/>
                </a:rPr>
                <a:t>Lorem ipsum</a:t>
              </a:r>
              <a:endParaRPr lang="en-US" sz="1100" kern="0">
                <a:solidFill>
                  <a:prstClr val="black">
                    <a:lumMod val="50000"/>
                    <a:lumOff val="50000"/>
                  </a:prstClr>
                </a:solidFill>
                <a:cs typeface="+mn-cs"/>
              </a:endParaRPr>
            </a:p>
          </p:txBody>
        </p:sp>
        <p:pic>
          <p:nvPicPr>
            <p:cNvPr id="143" name="Picture 142">
              <a:extLst>
                <a:ext uri="{FF2B5EF4-FFF2-40B4-BE49-F238E27FC236}">
                  <a16:creationId xmlns:a16="http://schemas.microsoft.com/office/drawing/2014/main" id="{71961965-7FA1-473C-946E-99F6551F7F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duotone>
                <a:srgbClr val="EEECE1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saturation sat="0"/>
                      </a14:imgEffect>
                      <a14:imgEffect>
                        <a14:brightnessContrast bright="-40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5584" y="3679213"/>
              <a:ext cx="465157" cy="465157"/>
            </a:xfrm>
            <a:prstGeom prst="rect">
              <a:avLst/>
            </a:prstGeom>
          </p:spPr>
        </p:pic>
      </p:grpSp>
      <p:sp>
        <p:nvSpPr>
          <p:cNvPr id="144" name="Right Arrow 51">
            <a:extLst>
              <a:ext uri="{FF2B5EF4-FFF2-40B4-BE49-F238E27FC236}">
                <a16:creationId xmlns:a16="http://schemas.microsoft.com/office/drawing/2014/main" id="{4F6CD7F2-F778-4182-8386-EC819F52CA45}"/>
              </a:ext>
            </a:extLst>
          </p:cNvPr>
          <p:cNvSpPr/>
          <p:nvPr/>
        </p:nvSpPr>
        <p:spPr>
          <a:xfrm flipH="1">
            <a:off x="4597946" y="4352501"/>
            <a:ext cx="153426" cy="113787"/>
          </a:xfrm>
          <a:prstGeom prst="rightArrow">
            <a:avLst/>
          </a:prstGeom>
          <a:solidFill>
            <a:srgbClr val="00B0F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  <p:sp>
        <p:nvSpPr>
          <p:cNvPr id="145" name="Right Arrow 52">
            <a:extLst>
              <a:ext uri="{FF2B5EF4-FFF2-40B4-BE49-F238E27FC236}">
                <a16:creationId xmlns:a16="http://schemas.microsoft.com/office/drawing/2014/main" id="{5466ED6D-B8D5-4F04-86AB-D0F641B55AAA}"/>
              </a:ext>
            </a:extLst>
          </p:cNvPr>
          <p:cNvSpPr/>
          <p:nvPr/>
        </p:nvSpPr>
        <p:spPr>
          <a:xfrm rot="20220000" flipH="1">
            <a:off x="1945587" y="4628298"/>
            <a:ext cx="153426" cy="113787"/>
          </a:xfrm>
          <a:prstGeom prst="rightArrow">
            <a:avLst/>
          </a:prstGeom>
          <a:solidFill>
            <a:srgbClr val="0065A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0B8C2803-DFFF-4E1B-94F6-99A1306F8CE4}"/>
              </a:ext>
            </a:extLst>
          </p:cNvPr>
          <p:cNvSpPr txBox="1"/>
          <p:nvPr/>
        </p:nvSpPr>
        <p:spPr>
          <a:xfrm>
            <a:off x="9009795" y="4845858"/>
            <a:ext cx="160598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da-DK" sz="1050" b="0" kern="0">
                <a:solidFill>
                  <a:prstClr val="black">
                    <a:lumMod val="50000"/>
                    <a:lumOff val="50000"/>
                  </a:prstClr>
                </a:solidFill>
                <a:cs typeface="+mn-cs"/>
              </a:rPr>
              <a:t>Lorem ipsum dolor sit amet</a:t>
            </a:r>
            <a:endParaRPr lang="en-US" sz="1050" kern="0">
              <a:solidFill>
                <a:prstClr val="black">
                  <a:lumMod val="50000"/>
                  <a:lumOff val="50000"/>
                </a:prstClr>
              </a:solidFill>
              <a:cs typeface="+mn-cs"/>
            </a:endParaRPr>
          </a:p>
        </p:txBody>
      </p:sp>
      <p:sp>
        <p:nvSpPr>
          <p:cNvPr id="147" name="Right Arrow 54">
            <a:extLst>
              <a:ext uri="{FF2B5EF4-FFF2-40B4-BE49-F238E27FC236}">
                <a16:creationId xmlns:a16="http://schemas.microsoft.com/office/drawing/2014/main" id="{5879DCFD-C1E1-4176-9670-3C0432437EFF}"/>
              </a:ext>
            </a:extLst>
          </p:cNvPr>
          <p:cNvSpPr/>
          <p:nvPr/>
        </p:nvSpPr>
        <p:spPr>
          <a:xfrm rot="18840000" flipH="1">
            <a:off x="10626490" y="4260260"/>
            <a:ext cx="153426" cy="113787"/>
          </a:xfrm>
          <a:prstGeom prst="rightArrow">
            <a:avLst/>
          </a:prstGeom>
          <a:solidFill>
            <a:srgbClr val="8DB74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  <p:sp>
        <p:nvSpPr>
          <p:cNvPr id="148" name="Right Arrow 55">
            <a:extLst>
              <a:ext uri="{FF2B5EF4-FFF2-40B4-BE49-F238E27FC236}">
                <a16:creationId xmlns:a16="http://schemas.microsoft.com/office/drawing/2014/main" id="{BADE536E-80BB-4424-BEDB-A4E19AB98827}"/>
              </a:ext>
            </a:extLst>
          </p:cNvPr>
          <p:cNvSpPr/>
          <p:nvPr/>
        </p:nvSpPr>
        <p:spPr>
          <a:xfrm rot="9840000">
            <a:off x="7426950" y="4408689"/>
            <a:ext cx="153426" cy="113787"/>
          </a:xfrm>
          <a:prstGeom prst="rightArrow">
            <a:avLst/>
          </a:prstGeom>
          <a:solidFill>
            <a:srgbClr val="4BACC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  <p:sp>
        <p:nvSpPr>
          <p:cNvPr id="149" name="Right Arrow 56">
            <a:extLst>
              <a:ext uri="{FF2B5EF4-FFF2-40B4-BE49-F238E27FC236}">
                <a16:creationId xmlns:a16="http://schemas.microsoft.com/office/drawing/2014/main" id="{7453C58B-A11E-43ED-9973-5A7B8EF0A545}"/>
              </a:ext>
            </a:extLst>
          </p:cNvPr>
          <p:cNvSpPr/>
          <p:nvPr/>
        </p:nvSpPr>
        <p:spPr>
          <a:xfrm rot="1980000">
            <a:off x="10632256" y="2533406"/>
            <a:ext cx="153426" cy="113787"/>
          </a:xfrm>
          <a:prstGeom prst="rightArrow">
            <a:avLst/>
          </a:prstGeom>
          <a:solidFill>
            <a:srgbClr val="8DB74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  <p:sp>
        <p:nvSpPr>
          <p:cNvPr id="150" name="Right Arrow 57">
            <a:extLst>
              <a:ext uri="{FF2B5EF4-FFF2-40B4-BE49-F238E27FC236}">
                <a16:creationId xmlns:a16="http://schemas.microsoft.com/office/drawing/2014/main" id="{1D6C9A5B-ADAA-497A-9908-E4CE9C815DF4}"/>
              </a:ext>
            </a:extLst>
          </p:cNvPr>
          <p:cNvSpPr/>
          <p:nvPr/>
        </p:nvSpPr>
        <p:spPr>
          <a:xfrm>
            <a:off x="7534108" y="1914780"/>
            <a:ext cx="153426" cy="113787"/>
          </a:xfrm>
          <a:prstGeom prst="rightArrow">
            <a:avLst/>
          </a:prstGeom>
          <a:solidFill>
            <a:srgbClr val="4BACC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  <p:sp>
        <p:nvSpPr>
          <p:cNvPr id="151" name="Right Arrow 58">
            <a:extLst>
              <a:ext uri="{FF2B5EF4-FFF2-40B4-BE49-F238E27FC236}">
                <a16:creationId xmlns:a16="http://schemas.microsoft.com/office/drawing/2014/main" id="{1D106AA8-70D4-443B-BA9B-D286D37211AC}"/>
              </a:ext>
            </a:extLst>
          </p:cNvPr>
          <p:cNvSpPr/>
          <p:nvPr/>
        </p:nvSpPr>
        <p:spPr>
          <a:xfrm rot="5520000">
            <a:off x="8271804" y="3026007"/>
            <a:ext cx="153426" cy="113787"/>
          </a:xfrm>
          <a:prstGeom prst="rightArrow">
            <a:avLst/>
          </a:prstGeom>
          <a:solidFill>
            <a:srgbClr val="4BACC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  <p:sp>
        <p:nvSpPr>
          <p:cNvPr id="152" name="Right Arrow 59">
            <a:extLst>
              <a:ext uri="{FF2B5EF4-FFF2-40B4-BE49-F238E27FC236}">
                <a16:creationId xmlns:a16="http://schemas.microsoft.com/office/drawing/2014/main" id="{F32D8D85-7BFB-4B89-A6A0-4AAD1692B8A7}"/>
              </a:ext>
            </a:extLst>
          </p:cNvPr>
          <p:cNvSpPr/>
          <p:nvPr/>
        </p:nvSpPr>
        <p:spPr>
          <a:xfrm rot="4980000">
            <a:off x="2670935" y="2810326"/>
            <a:ext cx="153426" cy="113787"/>
          </a:xfrm>
          <a:prstGeom prst="rightArrow">
            <a:avLst/>
          </a:prstGeom>
          <a:solidFill>
            <a:srgbClr val="0065A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  <p:pic>
        <p:nvPicPr>
          <p:cNvPr id="153" name="Picture 152">
            <a:extLst>
              <a:ext uri="{FF2B5EF4-FFF2-40B4-BE49-F238E27FC236}">
                <a16:creationId xmlns:a16="http://schemas.microsoft.com/office/drawing/2014/main" id="{721C8AF7-E7C1-4826-AE02-D211AF3B3E15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1018" y="1570773"/>
            <a:ext cx="506518" cy="506518"/>
          </a:xfrm>
          <a:prstGeom prst="rect">
            <a:avLst/>
          </a:prstGeom>
        </p:spPr>
      </p:pic>
      <p:pic>
        <p:nvPicPr>
          <p:cNvPr id="154" name="Picture 153">
            <a:extLst>
              <a:ext uri="{FF2B5EF4-FFF2-40B4-BE49-F238E27FC236}">
                <a16:creationId xmlns:a16="http://schemas.microsoft.com/office/drawing/2014/main" id="{87D067D3-4726-4B76-902A-9C45A5BE68CB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9225" y="1852470"/>
            <a:ext cx="648333" cy="648333"/>
          </a:xfrm>
          <a:prstGeom prst="rect">
            <a:avLst/>
          </a:prstGeom>
        </p:spPr>
      </p:pic>
      <p:pic>
        <p:nvPicPr>
          <p:cNvPr id="155" name="Picture 154">
            <a:extLst>
              <a:ext uri="{FF2B5EF4-FFF2-40B4-BE49-F238E27FC236}">
                <a16:creationId xmlns:a16="http://schemas.microsoft.com/office/drawing/2014/main" id="{1FA5FFE1-5CA3-4034-9E5A-B56B29E6D3E5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5307" y="4315625"/>
            <a:ext cx="574957" cy="574957"/>
          </a:xfrm>
          <a:prstGeom prst="rect">
            <a:avLst/>
          </a:prstGeom>
        </p:spPr>
      </p:pic>
      <p:pic>
        <p:nvPicPr>
          <p:cNvPr id="156" name="Picture 155">
            <a:extLst>
              <a:ext uri="{FF2B5EF4-FFF2-40B4-BE49-F238E27FC236}">
                <a16:creationId xmlns:a16="http://schemas.microsoft.com/office/drawing/2014/main" id="{2284E6E6-60D2-4400-971B-C5C5A91DFE35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5388" y="2914486"/>
            <a:ext cx="436342" cy="436342"/>
          </a:xfrm>
          <a:prstGeom prst="rect">
            <a:avLst/>
          </a:prstGeom>
        </p:spPr>
      </p:pic>
      <p:sp>
        <p:nvSpPr>
          <p:cNvPr id="157" name="Right Arrow 64">
            <a:extLst>
              <a:ext uri="{FF2B5EF4-FFF2-40B4-BE49-F238E27FC236}">
                <a16:creationId xmlns:a16="http://schemas.microsoft.com/office/drawing/2014/main" id="{7A143401-0D20-46E1-9E52-362935078E8B}"/>
              </a:ext>
            </a:extLst>
          </p:cNvPr>
          <p:cNvSpPr/>
          <p:nvPr/>
        </p:nvSpPr>
        <p:spPr>
          <a:xfrm rot="7680000">
            <a:off x="2649112" y="3956097"/>
            <a:ext cx="153426" cy="113787"/>
          </a:xfrm>
          <a:prstGeom prst="rightArrow">
            <a:avLst/>
          </a:prstGeom>
          <a:solidFill>
            <a:srgbClr val="0065A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  <p:sp>
        <p:nvSpPr>
          <p:cNvPr id="158" name="Right Arrow 65">
            <a:extLst>
              <a:ext uri="{FF2B5EF4-FFF2-40B4-BE49-F238E27FC236}">
                <a16:creationId xmlns:a16="http://schemas.microsoft.com/office/drawing/2014/main" id="{E362586D-4E69-4B6B-A9E4-8B90854D0658}"/>
              </a:ext>
            </a:extLst>
          </p:cNvPr>
          <p:cNvSpPr/>
          <p:nvPr/>
        </p:nvSpPr>
        <p:spPr>
          <a:xfrm rot="4980000">
            <a:off x="5322918" y="2660951"/>
            <a:ext cx="153426" cy="113787"/>
          </a:xfrm>
          <a:prstGeom prst="rightArrow">
            <a:avLst/>
          </a:prstGeom>
          <a:solidFill>
            <a:srgbClr val="00B0F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  <p:sp>
        <p:nvSpPr>
          <p:cNvPr id="159" name="Right Arrow 66">
            <a:extLst>
              <a:ext uri="{FF2B5EF4-FFF2-40B4-BE49-F238E27FC236}">
                <a16:creationId xmlns:a16="http://schemas.microsoft.com/office/drawing/2014/main" id="{424D7ED6-7E80-4C66-AA0B-4DB494ACD62D}"/>
              </a:ext>
            </a:extLst>
          </p:cNvPr>
          <p:cNvSpPr/>
          <p:nvPr/>
        </p:nvSpPr>
        <p:spPr>
          <a:xfrm rot="7680000">
            <a:off x="5388735" y="3764934"/>
            <a:ext cx="153426" cy="113787"/>
          </a:xfrm>
          <a:prstGeom prst="rightArrow">
            <a:avLst/>
          </a:prstGeom>
          <a:solidFill>
            <a:srgbClr val="00B0F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AECD0400-1778-45A6-A65B-18EE6F3EF3B9}"/>
              </a:ext>
            </a:extLst>
          </p:cNvPr>
          <p:cNvSpPr txBox="1"/>
          <p:nvPr/>
        </p:nvSpPr>
        <p:spPr>
          <a:xfrm>
            <a:off x="6216727" y="4860405"/>
            <a:ext cx="147187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a-DK" sz="1100" b="0" kern="0">
                <a:solidFill>
                  <a:prstClr val="black">
                    <a:lumMod val="50000"/>
                    <a:lumOff val="50000"/>
                  </a:prstClr>
                </a:solidFill>
                <a:cs typeface="+mn-cs"/>
              </a:rPr>
              <a:t>Lorem ipsum dolor </a:t>
            </a:r>
          </a:p>
          <a:p>
            <a:pPr>
              <a:defRPr/>
            </a:pPr>
            <a:r>
              <a:rPr lang="da-DK" sz="1100" b="0" kern="0">
                <a:solidFill>
                  <a:prstClr val="black">
                    <a:lumMod val="50000"/>
                    <a:lumOff val="50000"/>
                  </a:prstClr>
                </a:solidFill>
                <a:cs typeface="+mn-cs"/>
              </a:rPr>
              <a:t>sit amet</a:t>
            </a:r>
            <a:endParaRPr lang="en-US" sz="1100" kern="0">
              <a:solidFill>
                <a:prstClr val="black">
                  <a:lumMod val="50000"/>
                  <a:lumOff val="50000"/>
                </a:prstClr>
              </a:solidFill>
              <a:cs typeface="+mn-cs"/>
            </a:endParaRPr>
          </a:p>
        </p:txBody>
      </p:sp>
      <p:pic>
        <p:nvPicPr>
          <p:cNvPr id="161" name="Picture 160">
            <a:extLst>
              <a:ext uri="{FF2B5EF4-FFF2-40B4-BE49-F238E27FC236}">
                <a16:creationId xmlns:a16="http://schemas.microsoft.com/office/drawing/2014/main" id="{B5C8AE5F-4BD9-430E-BB6D-C7238950EFF2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6859" y="4338899"/>
            <a:ext cx="489283" cy="489283"/>
          </a:xfrm>
          <a:prstGeom prst="rect">
            <a:avLst/>
          </a:prstGeom>
        </p:spPr>
      </p:pic>
      <p:sp>
        <p:nvSpPr>
          <p:cNvPr id="162" name="TextBox 161">
            <a:extLst>
              <a:ext uri="{FF2B5EF4-FFF2-40B4-BE49-F238E27FC236}">
                <a16:creationId xmlns:a16="http://schemas.microsoft.com/office/drawing/2014/main" id="{401E96E7-2547-41F8-BB26-61A05D473F3C}"/>
              </a:ext>
            </a:extLst>
          </p:cNvPr>
          <p:cNvSpPr txBox="1"/>
          <p:nvPr/>
        </p:nvSpPr>
        <p:spPr>
          <a:xfrm>
            <a:off x="8953188" y="1968776"/>
            <a:ext cx="1655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da-DK" sz="1050" b="0" kern="0">
                <a:solidFill>
                  <a:prstClr val="black">
                    <a:lumMod val="50000"/>
                    <a:lumOff val="50000"/>
                  </a:prstClr>
                </a:solidFill>
                <a:cs typeface="+mn-cs"/>
              </a:rPr>
              <a:t>Lorem ipsum dolor sit amet</a:t>
            </a:r>
            <a:endParaRPr lang="en-US" sz="1050" kern="0">
              <a:solidFill>
                <a:prstClr val="black">
                  <a:lumMod val="50000"/>
                  <a:lumOff val="50000"/>
                </a:prstClr>
              </a:solidFill>
              <a:cs typeface="+mn-cs"/>
            </a:endParaRPr>
          </a:p>
        </p:txBody>
      </p:sp>
      <p:pic>
        <p:nvPicPr>
          <p:cNvPr id="163" name="Picture 162">
            <a:extLst>
              <a:ext uri="{FF2B5EF4-FFF2-40B4-BE49-F238E27FC236}">
                <a16:creationId xmlns:a16="http://schemas.microsoft.com/office/drawing/2014/main" id="{8BC10E50-A5B1-4169-9A9C-72B0075CB4AD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0381" y="1380234"/>
            <a:ext cx="648333" cy="648333"/>
          </a:xfrm>
          <a:prstGeom prst="rect">
            <a:avLst/>
          </a:prstGeom>
        </p:spPr>
      </p:pic>
      <p:sp>
        <p:nvSpPr>
          <p:cNvPr id="164" name="TextBox 163">
            <a:extLst>
              <a:ext uri="{FF2B5EF4-FFF2-40B4-BE49-F238E27FC236}">
                <a16:creationId xmlns:a16="http://schemas.microsoft.com/office/drawing/2014/main" id="{8BE64C0F-A608-4E04-A4AD-40C9E445BE96}"/>
              </a:ext>
            </a:extLst>
          </p:cNvPr>
          <p:cNvSpPr txBox="1"/>
          <p:nvPr/>
        </p:nvSpPr>
        <p:spPr>
          <a:xfrm>
            <a:off x="7610820" y="4302064"/>
            <a:ext cx="139980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prstClr val="white">
                  <a:lumMod val="50000"/>
                </a:prstClr>
              </a:buClr>
              <a:defRPr/>
            </a:pPr>
            <a:r>
              <a:rPr lang="da-DK" sz="1100" b="0" kern="0">
                <a:solidFill>
                  <a:prstClr val="black">
                    <a:lumMod val="50000"/>
                    <a:lumOff val="50000"/>
                  </a:prstClr>
                </a:solidFill>
                <a:cs typeface="+mn-cs"/>
              </a:rPr>
              <a:t>Lorem ipsum dolor sit amet</a:t>
            </a:r>
            <a:endParaRPr lang="en-US" sz="1100" b="0" kern="0">
              <a:solidFill>
                <a:prstClr val="black">
                  <a:lumMod val="50000"/>
                  <a:lumOff val="50000"/>
                </a:prstClr>
              </a:solidFill>
              <a:cs typeface="+mn-cs"/>
            </a:endParaRPr>
          </a:p>
        </p:txBody>
      </p:sp>
      <p:pic>
        <p:nvPicPr>
          <p:cNvPr id="165" name="Picture 164">
            <a:extLst>
              <a:ext uri="{FF2B5EF4-FFF2-40B4-BE49-F238E27FC236}">
                <a16:creationId xmlns:a16="http://schemas.microsoft.com/office/drawing/2014/main" id="{64948499-BC19-4AAA-AD41-C17777EB76F9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564" y="3823065"/>
            <a:ext cx="565995" cy="467614"/>
          </a:xfrm>
          <a:prstGeom prst="rect">
            <a:avLst/>
          </a:prstGeom>
        </p:spPr>
      </p:pic>
      <p:sp>
        <p:nvSpPr>
          <p:cNvPr id="166" name="Right Arrow 73">
            <a:extLst>
              <a:ext uri="{FF2B5EF4-FFF2-40B4-BE49-F238E27FC236}">
                <a16:creationId xmlns:a16="http://schemas.microsoft.com/office/drawing/2014/main" id="{C6A31BD2-929C-4FE7-86B4-684BCE412938}"/>
              </a:ext>
            </a:extLst>
          </p:cNvPr>
          <p:cNvSpPr/>
          <p:nvPr/>
        </p:nvSpPr>
        <p:spPr>
          <a:xfrm>
            <a:off x="3188039" y="3185891"/>
            <a:ext cx="283342" cy="260512"/>
          </a:xfrm>
          <a:prstGeom prst="rightArrow">
            <a:avLst/>
          </a:prstGeom>
          <a:solidFill>
            <a:sysClr val="windowText" lastClr="000000">
              <a:lumMod val="65000"/>
              <a:lumOff val="3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  <p:sp>
        <p:nvSpPr>
          <p:cNvPr id="167" name="Right Arrow 74">
            <a:extLst>
              <a:ext uri="{FF2B5EF4-FFF2-40B4-BE49-F238E27FC236}">
                <a16:creationId xmlns:a16="http://schemas.microsoft.com/office/drawing/2014/main" id="{AFA6DBFB-4ADC-4E4B-B1AC-7CC4595A03E5}"/>
              </a:ext>
            </a:extLst>
          </p:cNvPr>
          <p:cNvSpPr/>
          <p:nvPr/>
        </p:nvSpPr>
        <p:spPr>
          <a:xfrm>
            <a:off x="5933385" y="3185891"/>
            <a:ext cx="283342" cy="260512"/>
          </a:xfrm>
          <a:prstGeom prst="rightArrow">
            <a:avLst/>
          </a:prstGeom>
          <a:solidFill>
            <a:sysClr val="windowText" lastClr="000000">
              <a:lumMod val="65000"/>
              <a:lumOff val="3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  <p:sp>
        <p:nvSpPr>
          <p:cNvPr id="168" name="Right Arrow 75">
            <a:extLst>
              <a:ext uri="{FF2B5EF4-FFF2-40B4-BE49-F238E27FC236}">
                <a16:creationId xmlns:a16="http://schemas.microsoft.com/office/drawing/2014/main" id="{E386D90F-8D2E-4087-BEF1-C19EC118B4FA}"/>
              </a:ext>
            </a:extLst>
          </p:cNvPr>
          <p:cNvSpPr/>
          <p:nvPr/>
        </p:nvSpPr>
        <p:spPr>
          <a:xfrm>
            <a:off x="8712440" y="3185891"/>
            <a:ext cx="283342" cy="260512"/>
          </a:xfrm>
          <a:prstGeom prst="rightArrow">
            <a:avLst/>
          </a:prstGeom>
          <a:solidFill>
            <a:sysClr val="windowText" lastClr="000000">
              <a:lumMod val="65000"/>
              <a:lumOff val="3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70368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Shape">
            <a:extLst>
              <a:ext uri="{FF2B5EF4-FFF2-40B4-BE49-F238E27FC236}">
                <a16:creationId xmlns:a16="http://schemas.microsoft.com/office/drawing/2014/main" id="{7FE11086-BE5D-47DF-8636-0CC360D9803E}"/>
              </a:ext>
            </a:extLst>
          </p:cNvPr>
          <p:cNvSpPr>
            <a:spLocks/>
          </p:cNvSpPr>
          <p:nvPr/>
        </p:nvSpPr>
        <p:spPr bwMode="auto">
          <a:xfrm>
            <a:off x="9428525" y="2598174"/>
            <a:ext cx="916406" cy="583203"/>
          </a:xfrm>
          <a:custGeom>
            <a:avLst/>
            <a:gdLst>
              <a:gd name="T0" fmla="*/ 42665723 w 21600"/>
              <a:gd name="T1" fmla="*/ 34211796 h 21600"/>
              <a:gd name="T2" fmla="*/ 42665723 w 21600"/>
              <a:gd name="T3" fmla="*/ 34211796 h 21600"/>
              <a:gd name="T4" fmla="*/ 42665723 w 21600"/>
              <a:gd name="T5" fmla="*/ 34211796 h 21600"/>
              <a:gd name="T6" fmla="*/ 42665723 w 21600"/>
              <a:gd name="T7" fmla="*/ 34211796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13435"/>
                </a:lnTo>
                <a:lnTo>
                  <a:pt x="21600" y="8165"/>
                </a:lnTo>
                <a:lnTo>
                  <a:pt x="0" y="0"/>
                </a:lnTo>
                <a:close/>
              </a:path>
            </a:pathLst>
          </a:custGeom>
          <a:solidFill>
            <a:srgbClr val="B6C2CB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50800" tIns="50800" rIns="50800" bIns="50800" anchor="ctr"/>
          <a:lstStyle>
            <a:defPPr>
              <a:defRPr lang="en-US"/>
            </a:defPPr>
            <a:lvl1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457200" indent="-2286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914400" indent="-4572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1371600" indent="-6858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1828800" indent="-9144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22860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6pPr>
            <a:lvl7pPr marL="27432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7pPr>
            <a:lvl8pPr marL="32004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8pPr>
            <a:lvl9pPr marL="36576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9pPr>
          </a:lstStyle>
          <a:p>
            <a:pPr marL="0" marR="0" lvl="0" indent="0" algn="l" defTabSz="8255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50000" noProof="0">
              <a:ln>
                <a:noFill/>
              </a:ln>
              <a:solidFill>
                <a:srgbClr val="B1AFB2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81" name="Oval">
            <a:extLst>
              <a:ext uri="{FF2B5EF4-FFF2-40B4-BE49-F238E27FC236}">
                <a16:creationId xmlns:a16="http://schemas.microsoft.com/office/drawing/2014/main" id="{6EEA7A22-40C6-441F-9468-4F6CE6C54E2D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9133624" y="2842506"/>
            <a:ext cx="584739" cy="96343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50800" tIns="50800" rIns="50800" bIns="50800" anchor="ctr"/>
          <a:lstStyle>
            <a:defPPr>
              <a:defRPr lang="en-US"/>
            </a:defPPr>
            <a:lvl1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457200" indent="-2286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914400" indent="-4572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1371600" indent="-6858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1828800" indent="-9144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22860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6pPr>
            <a:lvl7pPr marL="27432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7pPr>
            <a:lvl8pPr marL="32004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8pPr>
            <a:lvl9pPr marL="36576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9pPr>
          </a:lstStyle>
          <a:p>
            <a:pPr marL="0" marR="0" lvl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500000000000000" pitchFamily="34" charset="0"/>
              <a:ea typeface="+mn-ea"/>
              <a:cs typeface="Open Sans" panose="020B0606030504020204" pitchFamily="34" charset="0"/>
              <a:sym typeface="Helvetica Light" panose="020B0500000000000000" pitchFamily="34" charset="0"/>
            </a:endParaRPr>
          </a:p>
        </p:txBody>
      </p:sp>
      <p:sp>
        <p:nvSpPr>
          <p:cNvPr id="82" name="Oval">
            <a:extLst>
              <a:ext uri="{FF2B5EF4-FFF2-40B4-BE49-F238E27FC236}">
                <a16:creationId xmlns:a16="http://schemas.microsoft.com/office/drawing/2014/main" id="{5A192666-AD15-4A7E-8DBA-54166CB9D16F}"/>
              </a:ext>
            </a:extLst>
          </p:cNvPr>
          <p:cNvSpPr>
            <a:spLocks noChangeArrowheads="1"/>
          </p:cNvSpPr>
          <p:nvPr/>
        </p:nvSpPr>
        <p:spPr bwMode="auto">
          <a:xfrm rot="16193785">
            <a:off x="10273694" y="2874495"/>
            <a:ext cx="141839" cy="3134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50800" tIns="50800" rIns="50800" bIns="50800" anchor="ctr"/>
          <a:lstStyle>
            <a:defPPr>
              <a:defRPr lang="en-US"/>
            </a:defPPr>
            <a:lvl1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457200" indent="-2286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914400" indent="-4572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1371600" indent="-6858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1828800" indent="-9144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22860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6pPr>
            <a:lvl7pPr marL="27432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7pPr>
            <a:lvl8pPr marL="32004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8pPr>
            <a:lvl9pPr marL="36576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9pPr>
          </a:lstStyle>
          <a:p>
            <a:pPr marL="0" marR="0" lvl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500000000000000" pitchFamily="34" charset="0"/>
              <a:ea typeface="+mn-ea"/>
              <a:cs typeface="Open Sans" panose="020B0606030504020204" pitchFamily="34" charset="0"/>
              <a:sym typeface="Helvetica Light" panose="020B0500000000000000" pitchFamily="34" charset="0"/>
            </a:endParaRPr>
          </a:p>
        </p:txBody>
      </p:sp>
      <p:grpSp>
        <p:nvGrpSpPr>
          <p:cNvPr id="68" name="Group">
            <a:extLst>
              <a:ext uri="{FF2B5EF4-FFF2-40B4-BE49-F238E27FC236}">
                <a16:creationId xmlns:a16="http://schemas.microsoft.com/office/drawing/2014/main" id="{D1B82791-9AE8-4FA5-AE53-8385DBC1352F}"/>
              </a:ext>
            </a:extLst>
          </p:cNvPr>
          <p:cNvGrpSpPr>
            <a:grpSpLocks/>
          </p:cNvGrpSpPr>
          <p:nvPr/>
        </p:nvGrpSpPr>
        <p:grpSpPr bwMode="auto">
          <a:xfrm>
            <a:off x="7129984" y="2116740"/>
            <a:ext cx="2080009" cy="1546101"/>
            <a:chOff x="-1" y="0"/>
            <a:chExt cx="3081475" cy="3222915"/>
          </a:xfrm>
        </p:grpSpPr>
        <p:sp>
          <p:nvSpPr>
            <p:cNvPr id="77" name="Shape">
              <a:extLst>
                <a:ext uri="{FF2B5EF4-FFF2-40B4-BE49-F238E27FC236}">
                  <a16:creationId xmlns:a16="http://schemas.microsoft.com/office/drawing/2014/main" id="{CB298AAA-694A-4D9D-A138-C811BDF93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68" y="1694"/>
              <a:ext cx="2743401" cy="3219828"/>
            </a:xfrm>
            <a:custGeom>
              <a:avLst/>
              <a:gdLst>
                <a:gd name="T0" fmla="*/ 174218791 w 21600"/>
                <a:gd name="T1" fmla="*/ 239983619 h 21600"/>
                <a:gd name="T2" fmla="*/ 174218791 w 21600"/>
                <a:gd name="T3" fmla="*/ 239983619 h 21600"/>
                <a:gd name="T4" fmla="*/ 174218791 w 21600"/>
                <a:gd name="T5" fmla="*/ 239983619 h 21600"/>
                <a:gd name="T6" fmla="*/ 174218791 w 21600"/>
                <a:gd name="T7" fmla="*/ 239983619 h 21600"/>
                <a:gd name="T8" fmla="*/ 0 60000 65536"/>
                <a:gd name="T9" fmla="*/ 5898240 60000 65536"/>
                <a:gd name="T10" fmla="*/ 11796480 60000 65536"/>
                <a:gd name="T11" fmla="*/ 1769472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15550"/>
                  </a:lnTo>
                  <a:lnTo>
                    <a:pt x="21551" y="60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  <p:txBody>
            <a:bodyPr lIns="50800" tIns="50800" rIns="50800" bIns="50800" anchor="ctr"/>
            <a:lstStyle>
              <a:defPPr>
                <a:defRPr lang="en-US"/>
              </a:defPPr>
              <a:lvl1pPr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1pPr>
              <a:lvl2pPr marL="457200" indent="-2286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2pPr>
              <a:lvl3pPr marL="914400" indent="-4572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3pPr>
              <a:lvl4pPr marL="1371600" indent="-6858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4pPr>
              <a:lvl5pPr marL="1828800" indent="-9144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5pPr>
              <a:lvl6pPr marL="22860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6pPr>
              <a:lvl7pPr marL="27432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7pPr>
              <a:lvl8pPr marL="32004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8pPr>
              <a:lvl9pPr marL="36576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9pPr>
            </a:lstStyle>
            <a:p>
              <a:pPr marL="0" marR="0" lvl="0" indent="0" algn="l" defTabSz="8255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50000" noProof="0">
                <a:ln>
                  <a:noFill/>
                </a:ln>
                <a:solidFill>
                  <a:srgbClr val="B1AFB2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78" name="Oval">
              <a:extLst>
                <a:ext uri="{FF2B5EF4-FFF2-40B4-BE49-F238E27FC236}">
                  <a16:creationId xmlns:a16="http://schemas.microsoft.com/office/drawing/2014/main" id="{BBBD2743-BA08-4F25-A72D-D0806614A5B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-5400000">
              <a:off x="-1383830" y="1383829"/>
              <a:ext cx="3222915" cy="455257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  <p:txBody>
            <a:bodyPr lIns="50800" tIns="50800" rIns="50800" bIns="50800" anchor="ctr"/>
            <a:lstStyle>
              <a:defPPr>
                <a:defRPr lang="en-US"/>
              </a:defPPr>
              <a:lvl1pPr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1pPr>
              <a:lvl2pPr marL="457200" indent="-2286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2pPr>
              <a:lvl3pPr marL="914400" indent="-4572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3pPr>
              <a:lvl4pPr marL="1371600" indent="-6858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4pPr>
              <a:lvl5pPr marL="1828800" indent="-9144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5pPr>
              <a:lvl6pPr marL="22860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6pPr>
              <a:lvl7pPr marL="27432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7pPr>
              <a:lvl8pPr marL="32004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8pPr>
              <a:lvl9pPr marL="36576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9pPr>
            </a:lstStyle>
            <a:p>
              <a:pPr marL="0" marR="0" lvl="0" indent="0" algn="ctr" defTabSz="825500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 panose="020B0500000000000000" pitchFamily="34" charset="0"/>
                <a:ea typeface="+mn-ea"/>
                <a:cs typeface="Open Sans" panose="020B0606030504020204" pitchFamily="34" charset="0"/>
                <a:sym typeface="Helvetica Light" panose="020B0500000000000000" pitchFamily="34" charset="0"/>
              </a:endParaRPr>
            </a:p>
          </p:txBody>
        </p:sp>
        <p:sp>
          <p:nvSpPr>
            <p:cNvPr id="79" name="Oval">
              <a:extLst>
                <a:ext uri="{FF2B5EF4-FFF2-40B4-BE49-F238E27FC236}">
                  <a16:creationId xmlns:a16="http://schemas.microsoft.com/office/drawing/2014/main" id="{11DE3D73-154D-47A2-9C8B-30C5250EA00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-5406215">
              <a:off x="2257409" y="1496867"/>
              <a:ext cx="1419578" cy="22855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  <p:txBody>
            <a:bodyPr lIns="50800" tIns="50800" rIns="50800" bIns="50800" anchor="ctr"/>
            <a:lstStyle>
              <a:defPPr>
                <a:defRPr lang="en-US"/>
              </a:defPPr>
              <a:lvl1pPr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1pPr>
              <a:lvl2pPr marL="457200" indent="-2286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2pPr>
              <a:lvl3pPr marL="914400" indent="-4572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3pPr>
              <a:lvl4pPr marL="1371600" indent="-6858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4pPr>
              <a:lvl5pPr marL="1828800" indent="-9144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5pPr>
              <a:lvl6pPr marL="22860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6pPr>
              <a:lvl7pPr marL="27432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7pPr>
              <a:lvl8pPr marL="32004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8pPr>
              <a:lvl9pPr marL="36576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9pPr>
            </a:lstStyle>
            <a:p>
              <a:pPr marL="0" marR="0" lvl="0" indent="0" algn="ctr" defTabSz="825500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 panose="020B0500000000000000" pitchFamily="34" charset="0"/>
                <a:ea typeface="+mn-ea"/>
                <a:cs typeface="Open Sans" panose="020B0606030504020204" pitchFamily="34" charset="0"/>
                <a:sym typeface="Helvetica Light" panose="020B0500000000000000" pitchFamily="34" charset="0"/>
              </a:endParaRPr>
            </a:p>
          </p:txBody>
        </p:sp>
      </p:grpSp>
      <p:grpSp>
        <p:nvGrpSpPr>
          <p:cNvPr id="69" name="Group">
            <a:extLst>
              <a:ext uri="{FF2B5EF4-FFF2-40B4-BE49-F238E27FC236}">
                <a16:creationId xmlns:a16="http://schemas.microsoft.com/office/drawing/2014/main" id="{FC24CA79-ACB7-4CE6-A824-59B44DC408FE}"/>
              </a:ext>
            </a:extLst>
          </p:cNvPr>
          <p:cNvGrpSpPr>
            <a:grpSpLocks/>
          </p:cNvGrpSpPr>
          <p:nvPr/>
        </p:nvGrpSpPr>
        <p:grpSpPr bwMode="auto">
          <a:xfrm>
            <a:off x="4674184" y="1579787"/>
            <a:ext cx="2310311" cy="2618175"/>
            <a:chOff x="-1" y="0"/>
            <a:chExt cx="3422660" cy="5457701"/>
          </a:xfrm>
        </p:grpSpPr>
        <p:sp>
          <p:nvSpPr>
            <p:cNvPr id="74" name="Shape">
              <a:extLst>
                <a:ext uri="{FF2B5EF4-FFF2-40B4-BE49-F238E27FC236}">
                  <a16:creationId xmlns:a16="http://schemas.microsoft.com/office/drawing/2014/main" id="{AC76BA13-91BD-47B9-B01D-543CE0BCD9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875" y="0"/>
              <a:ext cx="2831070" cy="5457701"/>
            </a:xfrm>
            <a:custGeom>
              <a:avLst/>
              <a:gdLst>
                <a:gd name="T0" fmla="*/ 185531420 w 21600"/>
                <a:gd name="T1" fmla="*/ 689502446 h 21600"/>
                <a:gd name="T2" fmla="*/ 185531420 w 21600"/>
                <a:gd name="T3" fmla="*/ 689502446 h 21600"/>
                <a:gd name="T4" fmla="*/ 185531420 w 21600"/>
                <a:gd name="T5" fmla="*/ 689502446 h 21600"/>
                <a:gd name="T6" fmla="*/ 185531420 w 21600"/>
                <a:gd name="T7" fmla="*/ 689502446 h 21600"/>
                <a:gd name="T8" fmla="*/ 0 60000 65536"/>
                <a:gd name="T9" fmla="*/ 5898240 60000 65536"/>
                <a:gd name="T10" fmla="*/ 11796480 60000 65536"/>
                <a:gd name="T11" fmla="*/ 1769472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17911"/>
                  </a:lnTo>
                  <a:lnTo>
                    <a:pt x="21600" y="36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  <p:txBody>
            <a:bodyPr lIns="50800" tIns="50800" rIns="50800" bIns="50800" anchor="ctr"/>
            <a:lstStyle>
              <a:defPPr>
                <a:defRPr lang="en-US"/>
              </a:defPPr>
              <a:lvl1pPr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1pPr>
              <a:lvl2pPr marL="457200" indent="-2286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2pPr>
              <a:lvl3pPr marL="914400" indent="-4572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3pPr>
              <a:lvl4pPr marL="1371600" indent="-6858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4pPr>
              <a:lvl5pPr marL="1828800" indent="-9144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5pPr>
              <a:lvl6pPr marL="22860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6pPr>
              <a:lvl7pPr marL="27432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7pPr>
              <a:lvl8pPr marL="32004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8pPr>
              <a:lvl9pPr marL="36576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9pPr>
            </a:lstStyle>
            <a:p>
              <a:pPr marL="0" marR="0" lvl="0" indent="0" algn="l" defTabSz="8255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50000" noProof="0">
                <a:ln>
                  <a:noFill/>
                </a:ln>
                <a:solidFill>
                  <a:srgbClr val="B1AFB2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75" name="Oval">
              <a:extLst>
                <a:ext uri="{FF2B5EF4-FFF2-40B4-BE49-F238E27FC236}">
                  <a16:creationId xmlns:a16="http://schemas.microsoft.com/office/drawing/2014/main" id="{75896622-12B5-4A7A-BE7F-D7CBD54BE35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-5400000">
              <a:off x="-2343116" y="2343341"/>
              <a:ext cx="5457076" cy="770845"/>
            </a:xfrm>
            <a:prstGeom prst="ellipse">
              <a:avLst/>
            </a:prstGeom>
            <a:solidFill>
              <a:schemeClr val="tx2">
                <a:lumMod val="90000"/>
                <a:lumOff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  <p:txBody>
            <a:bodyPr lIns="50800" tIns="50800" rIns="50800" bIns="50800" anchor="ctr"/>
            <a:lstStyle>
              <a:defPPr>
                <a:defRPr lang="en-US"/>
              </a:defPPr>
              <a:lvl1pPr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1pPr>
              <a:lvl2pPr marL="457200" indent="-2286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2pPr>
              <a:lvl3pPr marL="914400" indent="-4572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3pPr>
              <a:lvl4pPr marL="1371600" indent="-6858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4pPr>
              <a:lvl5pPr marL="1828800" indent="-9144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5pPr>
              <a:lvl6pPr marL="22860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6pPr>
              <a:lvl7pPr marL="27432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7pPr>
              <a:lvl8pPr marL="32004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8pPr>
              <a:lvl9pPr marL="36576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9pPr>
            </a:lstStyle>
            <a:p>
              <a:pPr marL="0" marR="0" lvl="0" indent="0" algn="ctr" defTabSz="825500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 panose="020B0500000000000000" pitchFamily="34" charset="0"/>
                <a:ea typeface="+mn-ea"/>
                <a:cs typeface="Open Sans" panose="020B0606030504020204" pitchFamily="34" charset="0"/>
                <a:sym typeface="Helvetica Light" panose="020B0500000000000000" pitchFamily="34" charset="0"/>
              </a:endParaRPr>
            </a:p>
          </p:txBody>
        </p:sp>
        <p:sp>
          <p:nvSpPr>
            <p:cNvPr id="76" name="Oval">
              <a:extLst>
                <a:ext uri="{FF2B5EF4-FFF2-40B4-BE49-F238E27FC236}">
                  <a16:creationId xmlns:a16="http://schemas.microsoft.com/office/drawing/2014/main" id="{13C10B9B-3796-44DB-ACAD-DF93DB53B77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-5400000">
              <a:off x="1406334" y="2514018"/>
              <a:ext cx="3601232" cy="431419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  <p:txBody>
            <a:bodyPr lIns="50800" tIns="50800" rIns="50800" bIns="50800" anchor="ctr"/>
            <a:lstStyle>
              <a:defPPr>
                <a:defRPr lang="en-US"/>
              </a:defPPr>
              <a:lvl1pPr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1pPr>
              <a:lvl2pPr marL="457200" indent="-2286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2pPr>
              <a:lvl3pPr marL="914400" indent="-4572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3pPr>
              <a:lvl4pPr marL="1371600" indent="-6858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4pPr>
              <a:lvl5pPr marL="1828800" indent="-914400" algn="l" defTabSz="8255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5pPr>
              <a:lvl6pPr marL="22860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6pPr>
              <a:lvl7pPr marL="27432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7pPr>
              <a:lvl8pPr marL="32004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8pPr>
              <a:lvl9pPr marL="3657600" algn="l" defTabSz="914400" rtl="0" eaLnBrk="1" latinLnBrk="0" hangingPunct="1">
                <a:defRPr sz="2400" kern="1200" baseline="50000">
                  <a:solidFill>
                    <a:srgbClr val="B1AFB2"/>
                  </a:solidFill>
                  <a:latin typeface="Open Sans" panose="020B0606030504020204" pitchFamily="34" charset="0"/>
                  <a:ea typeface="+mn-ea"/>
                  <a:cs typeface="Open Sans" panose="020B0606030504020204" pitchFamily="34" charset="0"/>
                  <a:sym typeface="Open Sans" panose="020B0606030504020204" pitchFamily="34" charset="0"/>
                </a:defRPr>
              </a:lvl9pPr>
            </a:lstStyle>
            <a:p>
              <a:pPr marL="0" marR="0" lvl="0" indent="0" algn="ctr" defTabSz="825500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 panose="020B0500000000000000" pitchFamily="34" charset="0"/>
                <a:ea typeface="+mn-ea"/>
                <a:cs typeface="Open Sans" panose="020B0606030504020204" pitchFamily="34" charset="0"/>
                <a:sym typeface="Helvetica Light" panose="020B0500000000000000" pitchFamily="34" charset="0"/>
              </a:endParaRPr>
            </a:p>
          </p:txBody>
        </p:sp>
      </p:grpSp>
      <p:sp>
        <p:nvSpPr>
          <p:cNvPr id="71" name="Shape">
            <a:extLst>
              <a:ext uri="{FF2B5EF4-FFF2-40B4-BE49-F238E27FC236}">
                <a16:creationId xmlns:a16="http://schemas.microsoft.com/office/drawing/2014/main" id="{EFA78516-EF54-4B53-ACBE-F216F431794C}"/>
              </a:ext>
            </a:extLst>
          </p:cNvPr>
          <p:cNvSpPr>
            <a:spLocks/>
          </p:cNvSpPr>
          <p:nvPr/>
        </p:nvSpPr>
        <p:spPr bwMode="auto">
          <a:xfrm>
            <a:off x="2152347" y="931863"/>
            <a:ext cx="2174566" cy="3915795"/>
          </a:xfrm>
          <a:custGeom>
            <a:avLst/>
            <a:gdLst>
              <a:gd name="T0" fmla="*/ 240241275 w 21600"/>
              <a:gd name="T1" fmla="*/ 1542333095 h 21600"/>
              <a:gd name="T2" fmla="*/ 240241275 w 21600"/>
              <a:gd name="T3" fmla="*/ 1542333095 h 21600"/>
              <a:gd name="T4" fmla="*/ 240241275 w 21600"/>
              <a:gd name="T5" fmla="*/ 1542333095 h 21600"/>
              <a:gd name="T6" fmla="*/ 240241275 w 21600"/>
              <a:gd name="T7" fmla="*/ 1542333095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18780"/>
                </a:lnTo>
                <a:lnTo>
                  <a:pt x="21600" y="2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90000"/>
              <a:lumOff val="1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50800" tIns="50800" rIns="50800" bIns="50800" anchor="ctr"/>
          <a:lstStyle>
            <a:defPPr>
              <a:defRPr lang="en-US"/>
            </a:defPPr>
            <a:lvl1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457200" indent="-2286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914400" indent="-4572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1371600" indent="-6858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1828800" indent="-9144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22860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6pPr>
            <a:lvl7pPr marL="27432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7pPr>
            <a:lvl8pPr marL="32004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8pPr>
            <a:lvl9pPr marL="36576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9pPr>
          </a:lstStyle>
          <a:p>
            <a:pPr marL="0" marR="0" lvl="0" indent="0" algn="l" defTabSz="8255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50000" noProof="0">
              <a:ln>
                <a:noFill/>
              </a:ln>
              <a:solidFill>
                <a:srgbClr val="B1AFB2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72" name="Oval">
            <a:extLst>
              <a:ext uri="{FF2B5EF4-FFF2-40B4-BE49-F238E27FC236}">
                <a16:creationId xmlns:a16="http://schemas.microsoft.com/office/drawing/2014/main" id="{851C5095-F853-4D13-906A-7D21E3FF99FC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94261" y="2560261"/>
            <a:ext cx="3911866" cy="658687"/>
          </a:xfrm>
          <a:prstGeom prst="ellipse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50800" tIns="50800" rIns="50800" bIns="50800" anchor="ctr"/>
          <a:lstStyle>
            <a:defPPr>
              <a:defRPr lang="en-US"/>
            </a:defPPr>
            <a:lvl1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457200" indent="-2286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914400" indent="-4572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1371600" indent="-6858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1828800" indent="-9144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22860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6pPr>
            <a:lvl7pPr marL="27432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7pPr>
            <a:lvl8pPr marL="32004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8pPr>
            <a:lvl9pPr marL="36576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9pPr>
          </a:lstStyle>
          <a:p>
            <a:pPr marL="0" marR="0" lvl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500000000000000" pitchFamily="34" charset="0"/>
              <a:ea typeface="+mn-ea"/>
              <a:cs typeface="Open Sans" panose="020B0606030504020204" pitchFamily="34" charset="0"/>
              <a:sym typeface="Helvetica Light" panose="020B0500000000000000" pitchFamily="34" charset="0"/>
            </a:endParaRPr>
          </a:p>
        </p:txBody>
      </p:sp>
      <p:sp>
        <p:nvSpPr>
          <p:cNvPr id="73" name="Oval">
            <a:extLst>
              <a:ext uri="{FF2B5EF4-FFF2-40B4-BE49-F238E27FC236}">
                <a16:creationId xmlns:a16="http://schemas.microsoft.com/office/drawing/2014/main" id="{01F2DCDA-5A48-4C96-93D2-503CD78C4E87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2870776" y="2645669"/>
            <a:ext cx="2895033" cy="487999"/>
          </a:xfrm>
          <a:prstGeom prst="ellipse">
            <a:avLst/>
          </a:prstGeom>
          <a:solidFill>
            <a:schemeClr val="accent4">
              <a:lumMod val="90000"/>
              <a:lumOff val="1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50800" tIns="50800" rIns="50800" bIns="50800" anchor="ctr"/>
          <a:lstStyle>
            <a:defPPr>
              <a:defRPr lang="en-US"/>
            </a:defPPr>
            <a:lvl1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457200" indent="-2286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914400" indent="-4572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1371600" indent="-6858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1828800" indent="-9144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22860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6pPr>
            <a:lvl7pPr marL="27432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7pPr>
            <a:lvl8pPr marL="32004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8pPr>
            <a:lvl9pPr marL="36576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9pPr>
          </a:lstStyle>
          <a:p>
            <a:pPr marL="0" marR="0" lvl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500000000000000" pitchFamily="34" charset="0"/>
              <a:ea typeface="+mn-ea"/>
              <a:cs typeface="Open Sans" panose="020B0606030504020204" pitchFamily="34" charset="0"/>
              <a:sym typeface="Helvetica Light" panose="020B0500000000000000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50B35F0-7042-4454-B55A-E45AD0CA714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IN"/>
              <a:t>Your headline will go here</a:t>
            </a:r>
          </a:p>
          <a:p>
            <a:endParaRPr lang="en-IN"/>
          </a:p>
        </p:txBody>
      </p:sp>
      <p:sp>
        <p:nvSpPr>
          <p:cNvPr id="42" name="Arrow">
            <a:extLst>
              <a:ext uri="{FF2B5EF4-FFF2-40B4-BE49-F238E27FC236}">
                <a16:creationId xmlns:a16="http://schemas.microsoft.com/office/drawing/2014/main" id="{9A362A53-06D9-4AA3-B93D-656E435E7D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364" y="2682183"/>
            <a:ext cx="592899" cy="408236"/>
          </a:xfrm>
          <a:prstGeom prst="rightArrow">
            <a:avLst>
              <a:gd name="adj1" fmla="val 50676"/>
              <a:gd name="adj2" fmla="val 58125"/>
            </a:avLst>
          </a:prstGeom>
          <a:solidFill>
            <a:srgbClr val="D8D8D8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50800" tIns="50800" rIns="50800" bIns="50800" anchor="ctr"/>
          <a:lstStyle>
            <a:defPPr>
              <a:defRPr lang="en-US"/>
            </a:defPPr>
            <a:lvl1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457200" indent="-2286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914400" indent="-4572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1371600" indent="-6858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1828800" indent="-9144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22860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6pPr>
            <a:lvl7pPr marL="27432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7pPr>
            <a:lvl8pPr marL="32004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8pPr>
            <a:lvl9pPr marL="36576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9pPr>
          </a:lstStyle>
          <a:p>
            <a:pPr marL="0" marR="0" lvl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500000000000000" pitchFamily="34" charset="0"/>
              <a:ea typeface="+mn-ea"/>
              <a:cs typeface="Open Sans" panose="020B0606030504020204" pitchFamily="34" charset="0"/>
              <a:sym typeface="Helvetica Light" panose="020B0500000000000000" pitchFamily="34" charset="0"/>
            </a:endParaRPr>
          </a:p>
        </p:txBody>
      </p:sp>
      <p:sp>
        <p:nvSpPr>
          <p:cNvPr id="43" name="Arrow">
            <a:extLst>
              <a:ext uri="{FF2B5EF4-FFF2-40B4-BE49-F238E27FC236}">
                <a16:creationId xmlns:a16="http://schemas.microsoft.com/office/drawing/2014/main" id="{8FD8CB79-6561-4CBB-9461-6EA7D3CC4C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364" y="2009755"/>
            <a:ext cx="592899" cy="408236"/>
          </a:xfrm>
          <a:prstGeom prst="rightArrow">
            <a:avLst>
              <a:gd name="adj1" fmla="val 50676"/>
              <a:gd name="adj2" fmla="val 58125"/>
            </a:avLst>
          </a:prstGeom>
          <a:solidFill>
            <a:srgbClr val="D8D8D8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50800" tIns="50800" rIns="50800" bIns="50800" anchor="ctr"/>
          <a:lstStyle>
            <a:defPPr>
              <a:defRPr lang="en-US"/>
            </a:defPPr>
            <a:lvl1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457200" indent="-2286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914400" indent="-4572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1371600" indent="-6858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1828800" indent="-9144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22860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6pPr>
            <a:lvl7pPr marL="27432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7pPr>
            <a:lvl8pPr marL="32004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8pPr>
            <a:lvl9pPr marL="36576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9pPr>
          </a:lstStyle>
          <a:p>
            <a:pPr marL="0" marR="0" lvl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500000000000000" pitchFamily="34" charset="0"/>
              <a:ea typeface="+mn-ea"/>
              <a:cs typeface="Open Sans" panose="020B0606030504020204" pitchFamily="34" charset="0"/>
              <a:sym typeface="Helvetica Light" panose="020B0500000000000000" pitchFamily="34" charset="0"/>
            </a:endParaRPr>
          </a:p>
        </p:txBody>
      </p:sp>
      <p:sp>
        <p:nvSpPr>
          <p:cNvPr id="47" name="Arrow">
            <a:extLst>
              <a:ext uri="{FF2B5EF4-FFF2-40B4-BE49-F238E27FC236}">
                <a16:creationId xmlns:a16="http://schemas.microsoft.com/office/drawing/2014/main" id="{C00343D5-9BC2-4184-AB71-EF12D81F1D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364" y="3354611"/>
            <a:ext cx="592899" cy="408236"/>
          </a:xfrm>
          <a:prstGeom prst="rightArrow">
            <a:avLst>
              <a:gd name="adj1" fmla="val 50676"/>
              <a:gd name="adj2" fmla="val 58125"/>
            </a:avLst>
          </a:prstGeom>
          <a:solidFill>
            <a:srgbClr val="D8D8D8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50800" tIns="50800" rIns="50800" bIns="50800" anchor="ctr"/>
          <a:lstStyle>
            <a:defPPr>
              <a:defRPr lang="en-US"/>
            </a:defPPr>
            <a:lvl1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457200" indent="-2286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914400" indent="-4572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1371600" indent="-6858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1828800" indent="-9144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22860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6pPr>
            <a:lvl7pPr marL="27432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7pPr>
            <a:lvl8pPr marL="32004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8pPr>
            <a:lvl9pPr marL="36576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9pPr>
          </a:lstStyle>
          <a:p>
            <a:pPr marL="0" marR="0" lvl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500000000000000" pitchFamily="34" charset="0"/>
              <a:ea typeface="+mn-ea"/>
              <a:cs typeface="Open Sans" panose="020B0606030504020204" pitchFamily="34" charset="0"/>
              <a:sym typeface="Helvetica Light" panose="020B0500000000000000" pitchFamily="34" charset="0"/>
            </a:endParaRPr>
          </a:p>
        </p:txBody>
      </p:sp>
      <p:sp>
        <p:nvSpPr>
          <p:cNvPr id="27" name="Attention">
            <a:extLst>
              <a:ext uri="{FF2B5EF4-FFF2-40B4-BE49-F238E27FC236}">
                <a16:creationId xmlns:a16="http://schemas.microsoft.com/office/drawing/2014/main" id="{E979D8AA-E5D3-4413-959C-85B0D0D3DB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24361" y="4845537"/>
            <a:ext cx="1212428" cy="318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50800" tIns="50800" rIns="50800" bIns="50800" anchor="ctr">
            <a:spAutoFit/>
          </a:bodyPr>
          <a:lstStyle>
            <a:defPPr>
              <a:defRPr lang="en-US"/>
            </a:defPPr>
            <a:lvl1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457200" indent="-2286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914400" indent="-4572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1371600" indent="-6858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1828800" indent="-9144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22860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6pPr>
            <a:lvl7pPr marL="27432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7pPr>
            <a:lvl8pPr marL="32004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8pPr>
            <a:lvl9pPr marL="36576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9pPr>
          </a:lstStyle>
          <a:p>
            <a:pPr marL="0" marR="0" lvl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465368"/>
                </a:solidFill>
                <a:effectLst/>
                <a:uLnTx/>
                <a:uFillTx/>
                <a:latin typeface="Inter bold"/>
                <a:ea typeface="+mn-ea"/>
                <a:cs typeface="Open Sans Light" panose="020B0306030504020204" pitchFamily="34" charset="0"/>
                <a:sym typeface="Open Sans Light" panose="020B0306030504020204" pitchFamily="34" charset="0"/>
              </a:rPr>
              <a:t>Header 1</a:t>
            </a:r>
          </a:p>
        </p:txBody>
      </p:sp>
      <p:sp>
        <p:nvSpPr>
          <p:cNvPr id="28" name="Interest">
            <a:extLst>
              <a:ext uri="{FF2B5EF4-FFF2-40B4-BE49-F238E27FC236}">
                <a16:creationId xmlns:a16="http://schemas.microsoft.com/office/drawing/2014/main" id="{296042D9-A3A9-40D1-978D-1BDF9A47BD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89723" y="4845537"/>
            <a:ext cx="1212429" cy="318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50800" tIns="50800" rIns="50800" bIns="50800" anchor="ctr">
            <a:spAutoFit/>
          </a:bodyPr>
          <a:lstStyle>
            <a:defPPr>
              <a:defRPr lang="en-US"/>
            </a:defPPr>
            <a:lvl1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457200" indent="-2286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914400" indent="-4572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1371600" indent="-6858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1828800" indent="-9144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22860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6pPr>
            <a:lvl7pPr marL="27432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7pPr>
            <a:lvl8pPr marL="32004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8pPr>
            <a:lvl9pPr marL="36576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9pPr>
          </a:lstStyle>
          <a:p>
            <a:pPr marL="0" marR="0" lvl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465368"/>
                </a:solidFill>
                <a:effectLst/>
                <a:uLnTx/>
                <a:uFillTx/>
                <a:latin typeface="Inter bold"/>
                <a:ea typeface="+mn-ea"/>
                <a:cs typeface="Open Sans Light" panose="020B0306030504020204" pitchFamily="34" charset="0"/>
                <a:sym typeface="Open Sans Light" panose="020B0306030504020204" pitchFamily="34" charset="0"/>
              </a:rPr>
              <a:t>Header 2</a:t>
            </a:r>
          </a:p>
        </p:txBody>
      </p:sp>
      <p:sp>
        <p:nvSpPr>
          <p:cNvPr id="32" name="Desire">
            <a:extLst>
              <a:ext uri="{FF2B5EF4-FFF2-40B4-BE49-F238E27FC236}">
                <a16:creationId xmlns:a16="http://schemas.microsoft.com/office/drawing/2014/main" id="{2CEFB694-4790-4C73-A4D0-96E8F81360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4726" y="4845537"/>
            <a:ext cx="1212429" cy="318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50800" tIns="50800" rIns="50800" bIns="50800" anchor="ctr">
            <a:spAutoFit/>
          </a:bodyPr>
          <a:lstStyle>
            <a:defPPr>
              <a:defRPr lang="en-US"/>
            </a:defPPr>
            <a:lvl1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457200" indent="-2286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914400" indent="-4572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1371600" indent="-6858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1828800" indent="-9144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22860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6pPr>
            <a:lvl7pPr marL="27432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7pPr>
            <a:lvl8pPr marL="32004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8pPr>
            <a:lvl9pPr marL="36576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9pPr>
          </a:lstStyle>
          <a:p>
            <a:pPr marL="0" marR="0" lvl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465368"/>
                </a:solidFill>
                <a:effectLst/>
                <a:uLnTx/>
                <a:uFillTx/>
                <a:latin typeface="Inter bold"/>
                <a:ea typeface="+mn-ea"/>
                <a:cs typeface="Open Sans Light" panose="020B0306030504020204" pitchFamily="34" charset="0"/>
                <a:sym typeface="Open Sans Light" panose="020B0306030504020204" pitchFamily="34" charset="0"/>
              </a:rPr>
              <a:t>Header 3</a:t>
            </a:r>
          </a:p>
        </p:txBody>
      </p:sp>
      <p:sp>
        <p:nvSpPr>
          <p:cNvPr id="40" name="Action">
            <a:extLst>
              <a:ext uri="{FF2B5EF4-FFF2-40B4-BE49-F238E27FC236}">
                <a16:creationId xmlns:a16="http://schemas.microsoft.com/office/drawing/2014/main" id="{0FA16B05-7C49-43C7-BFF7-66D440C8A1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66300" y="4845537"/>
            <a:ext cx="1212429" cy="318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50800" tIns="50800" rIns="50800" bIns="50800" anchor="ctr">
            <a:spAutoFit/>
          </a:bodyPr>
          <a:lstStyle>
            <a:defPPr>
              <a:defRPr lang="en-US"/>
            </a:defPPr>
            <a:lvl1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457200" indent="-2286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914400" indent="-4572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1371600" indent="-6858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1828800" indent="-9144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22860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6pPr>
            <a:lvl7pPr marL="27432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7pPr>
            <a:lvl8pPr marL="32004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8pPr>
            <a:lvl9pPr marL="36576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9pPr>
          </a:lstStyle>
          <a:p>
            <a:pPr marL="0" marR="0" lvl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465368"/>
                </a:solidFill>
                <a:effectLst/>
                <a:uLnTx/>
                <a:uFillTx/>
                <a:latin typeface="Inter bold"/>
                <a:ea typeface="+mn-ea"/>
                <a:cs typeface="Open Sans Light" panose="020B0306030504020204" pitchFamily="34" charset="0"/>
                <a:sym typeface="Open Sans Light" panose="020B0306030504020204" pitchFamily="34" charset="0"/>
              </a:rPr>
              <a:t>Header 4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8E8F39B-3B7C-4837-99A1-30A910AFB877}"/>
              </a:ext>
            </a:extLst>
          </p:cNvPr>
          <p:cNvSpPr txBox="1"/>
          <p:nvPr/>
        </p:nvSpPr>
        <p:spPr>
          <a:xfrm>
            <a:off x="2544417" y="5224007"/>
            <a:ext cx="1597371" cy="1072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889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203A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 dolor sit amet, cum no doming vulputate mediocritatem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66F2858-2D5B-472E-9B7F-7DF1EE54930F}"/>
              </a:ext>
            </a:extLst>
          </p:cNvPr>
          <p:cNvSpPr txBox="1"/>
          <p:nvPr/>
        </p:nvSpPr>
        <p:spPr>
          <a:xfrm>
            <a:off x="5297252" y="5224007"/>
            <a:ext cx="1597371" cy="1072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889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203A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 dolor sit amet, cum no doming vulputate mediocritatem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2E21ABF3-F67D-4478-9DBA-6F2B22D28D73}"/>
              </a:ext>
            </a:extLst>
          </p:cNvPr>
          <p:cNvSpPr txBox="1"/>
          <p:nvPr/>
        </p:nvSpPr>
        <p:spPr>
          <a:xfrm>
            <a:off x="7502255" y="5224007"/>
            <a:ext cx="1597371" cy="1072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889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203A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 dolor sit amet, cum no doming vulputate mediocritatem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548520A8-9508-4E74-A779-AB040560CE0D}"/>
              </a:ext>
            </a:extLst>
          </p:cNvPr>
          <p:cNvSpPr txBox="1"/>
          <p:nvPr/>
        </p:nvSpPr>
        <p:spPr>
          <a:xfrm>
            <a:off x="9273829" y="5224007"/>
            <a:ext cx="1597371" cy="1072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889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203A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 dolor sit amet, cum no doming vulputate mediocritatem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980790-A908-4F06-BBF9-2528B087330B}"/>
              </a:ext>
            </a:extLst>
          </p:cNvPr>
          <p:cNvCxnSpPr>
            <a:stCxn id="27" idx="0"/>
          </p:cNvCxnSpPr>
          <p:nvPr/>
        </p:nvCxnSpPr>
        <p:spPr>
          <a:xfrm flipV="1">
            <a:off x="3330575" y="4452730"/>
            <a:ext cx="0" cy="39280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63CD286-70CB-4E1B-B5CD-0D2CA1712570}"/>
              </a:ext>
            </a:extLst>
          </p:cNvPr>
          <p:cNvCxnSpPr>
            <a:cxnSpLocks/>
          </p:cNvCxnSpPr>
          <p:nvPr/>
        </p:nvCxnSpPr>
        <p:spPr>
          <a:xfrm flipV="1">
            <a:off x="6095937" y="3762847"/>
            <a:ext cx="0" cy="1082691"/>
          </a:xfrm>
          <a:prstGeom prst="line">
            <a:avLst/>
          </a:prstGeom>
          <a:ln>
            <a:solidFill>
              <a:schemeClr val="accent4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9D136262-1432-45A2-B005-6810BD6C48A0}"/>
              </a:ext>
            </a:extLst>
          </p:cNvPr>
          <p:cNvCxnSpPr>
            <a:cxnSpLocks/>
          </p:cNvCxnSpPr>
          <p:nvPr/>
        </p:nvCxnSpPr>
        <p:spPr>
          <a:xfrm flipV="1">
            <a:off x="8300940" y="3181377"/>
            <a:ext cx="0" cy="1664162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145C3FD4-5EE1-4A33-B79F-7718E86BE164}"/>
              </a:ext>
            </a:extLst>
          </p:cNvPr>
          <p:cNvCxnSpPr>
            <a:cxnSpLocks/>
          </p:cNvCxnSpPr>
          <p:nvPr/>
        </p:nvCxnSpPr>
        <p:spPr>
          <a:xfrm flipV="1">
            <a:off x="10072514" y="2961114"/>
            <a:ext cx="0" cy="1884425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Attention">
            <a:extLst>
              <a:ext uri="{FF2B5EF4-FFF2-40B4-BE49-F238E27FC236}">
                <a16:creationId xmlns:a16="http://schemas.microsoft.com/office/drawing/2014/main" id="{FEE46343-8F9F-457B-BAAF-8BC17CD7F8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8409" y="2737560"/>
            <a:ext cx="1212428" cy="318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50800" tIns="50800" rIns="50800" bIns="50800" anchor="ctr">
            <a:spAutoFit/>
          </a:bodyPr>
          <a:lstStyle>
            <a:defPPr>
              <a:defRPr lang="en-US"/>
            </a:defPPr>
            <a:lvl1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457200" indent="-2286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914400" indent="-4572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1371600" indent="-6858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1828800" indent="-9144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22860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6pPr>
            <a:lvl7pPr marL="27432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7pPr>
            <a:lvl8pPr marL="32004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8pPr>
            <a:lvl9pPr marL="3657600" algn="l" defTabSz="914400" rtl="0" eaLnBrk="1" latinLnBrk="0" hangingPunct="1">
              <a:defRPr sz="2400" kern="1200" baseline="50000">
                <a:solidFill>
                  <a:srgbClr val="B1AFB2"/>
                </a:solidFill>
                <a:latin typeface="Open Sans" panose="020B0606030504020204" pitchFamily="34" charset="0"/>
                <a:ea typeface="+mn-ea"/>
                <a:cs typeface="Open Sans" panose="020B0606030504020204" pitchFamily="34" charset="0"/>
                <a:sym typeface="Open Sans" panose="020B0606030504020204" pitchFamily="34" charset="0"/>
              </a:defRPr>
            </a:lvl9pPr>
          </a:lstStyle>
          <a:p>
            <a:pPr marL="0" marR="0" lvl="0" indent="0" algn="l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465368"/>
                </a:solidFill>
                <a:effectLst/>
                <a:uLnTx/>
                <a:uFillTx/>
                <a:latin typeface="Inter bold"/>
                <a:ea typeface="+mn-ea"/>
                <a:cs typeface="Open Sans Light" panose="020B0306030504020204" pitchFamily="34" charset="0"/>
                <a:sym typeface="Open Sans Light" panose="020B0306030504020204" pitchFamily="34" charset="0"/>
              </a:rPr>
              <a:t>Header 1</a:t>
            </a:r>
          </a:p>
        </p:txBody>
      </p:sp>
    </p:spTree>
    <p:extLst>
      <p:ext uri="{BB962C8B-B14F-4D97-AF65-F5344CB8AC3E}">
        <p14:creationId xmlns:p14="http://schemas.microsoft.com/office/powerpoint/2010/main" val="31813250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7588093" y="1633448"/>
            <a:ext cx="1086836" cy="4022977"/>
            <a:chOff x="5691069" y="1225085"/>
            <a:chExt cx="815127" cy="3017233"/>
          </a:xfrm>
        </p:grpSpPr>
        <p:cxnSp>
          <p:nvCxnSpPr>
            <p:cNvPr id="19" name="Straight Connector 18"/>
            <p:cNvCxnSpPr/>
            <p:nvPr/>
          </p:nvCxnSpPr>
          <p:spPr>
            <a:xfrm flipV="1">
              <a:off x="5691069" y="1225085"/>
              <a:ext cx="221951" cy="824017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 flipH="1" flipV="1">
              <a:off x="5761200" y="3360331"/>
              <a:ext cx="151820" cy="881987"/>
            </a:xfrm>
            <a:prstGeom prst="line">
              <a:avLst/>
            </a:prstGeom>
            <a:ln>
              <a:solidFill>
                <a:srgbClr val="908F9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 flipV="1">
              <a:off x="5711556" y="1743835"/>
              <a:ext cx="794640" cy="290995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5691069" y="2056423"/>
              <a:ext cx="809852" cy="40623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>
              <a:off x="5761199" y="3360331"/>
              <a:ext cx="736774" cy="476469"/>
            </a:xfrm>
            <a:prstGeom prst="line">
              <a:avLst/>
            </a:prstGeom>
            <a:ln>
              <a:solidFill>
                <a:srgbClr val="908F9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 flipV="1">
              <a:off x="5778106" y="3130325"/>
              <a:ext cx="726382" cy="250370"/>
            </a:xfrm>
            <a:prstGeom prst="line">
              <a:avLst/>
            </a:prstGeom>
            <a:ln>
              <a:solidFill>
                <a:srgbClr val="908F9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/>
        </p:nvGrpSpPr>
        <p:grpSpPr>
          <a:xfrm>
            <a:off x="3276665" y="1633448"/>
            <a:ext cx="1086836" cy="4022977"/>
            <a:chOff x="2457498" y="1225085"/>
            <a:chExt cx="815127" cy="3017233"/>
          </a:xfrm>
        </p:grpSpPr>
        <p:cxnSp>
          <p:nvCxnSpPr>
            <p:cNvPr id="55" name="Straight Connector 54"/>
            <p:cNvCxnSpPr/>
            <p:nvPr/>
          </p:nvCxnSpPr>
          <p:spPr>
            <a:xfrm flipH="1" flipV="1">
              <a:off x="3050674" y="1225085"/>
              <a:ext cx="221951" cy="824017"/>
            </a:xfrm>
            <a:prstGeom prst="line">
              <a:avLst/>
            </a:prstGeom>
            <a:ln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 flipV="1">
              <a:off x="3050674" y="3360331"/>
              <a:ext cx="151820" cy="881987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 flipH="1" flipV="1">
              <a:off x="2457498" y="1743835"/>
              <a:ext cx="794640" cy="290995"/>
            </a:xfrm>
            <a:prstGeom prst="line">
              <a:avLst/>
            </a:prstGeom>
            <a:ln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/>
          </p:nvCxnSpPr>
          <p:spPr>
            <a:xfrm flipH="1">
              <a:off x="2462773" y="2056423"/>
              <a:ext cx="809852" cy="406232"/>
            </a:xfrm>
            <a:prstGeom prst="line">
              <a:avLst/>
            </a:prstGeom>
            <a:ln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 flipH="1">
              <a:off x="2465719" y="3360331"/>
              <a:ext cx="736774" cy="476469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/>
          </p:nvCxnSpPr>
          <p:spPr>
            <a:xfrm flipH="1" flipV="1">
              <a:off x="2459205" y="3130325"/>
              <a:ext cx="726382" cy="250370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00FAA6-393F-425E-BCAB-F8CD2C37899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IN"/>
              <a:t>Your headline will go here</a:t>
            </a:r>
          </a:p>
          <a:p>
            <a:endParaRPr lang="en-IN"/>
          </a:p>
        </p:txBody>
      </p:sp>
      <p:grpSp>
        <p:nvGrpSpPr>
          <p:cNvPr id="17" name="Group 16"/>
          <p:cNvGrpSpPr/>
          <p:nvPr/>
        </p:nvGrpSpPr>
        <p:grpSpPr>
          <a:xfrm>
            <a:off x="7546737" y="1249791"/>
            <a:ext cx="1499180" cy="4754855"/>
            <a:chOff x="5660052" y="937343"/>
            <a:chExt cx="1124385" cy="3566141"/>
          </a:xfrm>
        </p:grpSpPr>
        <p:sp>
          <p:nvSpPr>
            <p:cNvPr id="21" name="Pie 20"/>
            <p:cNvSpPr/>
            <p:nvPr/>
          </p:nvSpPr>
          <p:spPr>
            <a:xfrm rot="16200000">
              <a:off x="5660052" y="937343"/>
              <a:ext cx="522332" cy="522331"/>
            </a:xfrm>
            <a:prstGeom prst="pie">
              <a:avLst>
                <a:gd name="adj1" fmla="val 0"/>
                <a:gd name="adj2" fmla="val 12778483"/>
              </a:avLst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 useBgFill="1">
          <p:nvSpPr>
            <p:cNvPr id="15" name="Oval 14"/>
            <p:cNvSpPr>
              <a:spLocks noChangeArrowheads="1"/>
            </p:cNvSpPr>
            <p:nvPr/>
          </p:nvSpPr>
          <p:spPr bwMode="auto">
            <a:xfrm>
              <a:off x="5699267" y="976558"/>
              <a:ext cx="443903" cy="443901"/>
            </a:xfrm>
            <a:prstGeom prst="ellipse">
              <a:avLst/>
            </a:prstGeom>
            <a:ln w="3175">
              <a:solidFill>
                <a:schemeClr val="accent6"/>
              </a:solidFill>
            </a:ln>
          </p:spPr>
          <p:txBody>
            <a:bodyPr vert="horz" wrap="non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65%</a:t>
              </a:r>
            </a:p>
          </p:txBody>
        </p:sp>
        <p:sp>
          <p:nvSpPr>
            <p:cNvPr id="24" name="Pie 23"/>
            <p:cNvSpPr/>
            <p:nvPr/>
          </p:nvSpPr>
          <p:spPr>
            <a:xfrm rot="16200000">
              <a:off x="6262106" y="2177694"/>
              <a:ext cx="522332" cy="522331"/>
            </a:xfrm>
            <a:prstGeom prst="pie">
              <a:avLst>
                <a:gd name="adj1" fmla="val 0"/>
                <a:gd name="adj2" fmla="val 8839672"/>
              </a:avLst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23" name="Pie 22"/>
            <p:cNvSpPr/>
            <p:nvPr/>
          </p:nvSpPr>
          <p:spPr>
            <a:xfrm rot="16200000">
              <a:off x="6262106" y="1454086"/>
              <a:ext cx="522332" cy="522331"/>
            </a:xfrm>
            <a:prstGeom prst="pie">
              <a:avLst>
                <a:gd name="adj1" fmla="val 0"/>
                <a:gd name="adj2" fmla="val 19354869"/>
              </a:avLst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 useBgFill="1">
          <p:nvSpPr>
            <p:cNvPr id="12" name="Oval 11"/>
            <p:cNvSpPr>
              <a:spLocks noChangeArrowheads="1"/>
            </p:cNvSpPr>
            <p:nvPr/>
          </p:nvSpPr>
          <p:spPr bwMode="auto">
            <a:xfrm>
              <a:off x="6301322" y="2216908"/>
              <a:ext cx="443903" cy="443901"/>
            </a:xfrm>
            <a:prstGeom prst="ellipse">
              <a:avLst/>
            </a:prstGeom>
            <a:ln w="3175">
              <a:solidFill>
                <a:schemeClr val="accent6"/>
              </a:solidFill>
            </a:ln>
          </p:spPr>
          <p:txBody>
            <a:bodyPr vert="horz" wrap="non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40%</a:t>
              </a:r>
            </a:p>
          </p:txBody>
        </p:sp>
        <p:sp useBgFill="1">
          <p:nvSpPr>
            <p:cNvPr id="14" name="Oval 13"/>
            <p:cNvSpPr>
              <a:spLocks noChangeArrowheads="1"/>
            </p:cNvSpPr>
            <p:nvPr/>
          </p:nvSpPr>
          <p:spPr bwMode="auto">
            <a:xfrm>
              <a:off x="6301322" y="1493301"/>
              <a:ext cx="443903" cy="443901"/>
            </a:xfrm>
            <a:prstGeom prst="ellipse">
              <a:avLst/>
            </a:prstGeom>
            <a:ln w="3175">
              <a:solidFill>
                <a:schemeClr val="accent6"/>
              </a:solidFill>
            </a:ln>
          </p:spPr>
          <p:txBody>
            <a:bodyPr vert="horz" wrap="non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90%</a:t>
              </a:r>
            </a:p>
          </p:txBody>
        </p:sp>
        <p:sp>
          <p:nvSpPr>
            <p:cNvPr id="32" name="Pie 31"/>
            <p:cNvSpPr/>
            <p:nvPr/>
          </p:nvSpPr>
          <p:spPr>
            <a:xfrm rot="16200000">
              <a:off x="6262106" y="3574392"/>
              <a:ext cx="522332" cy="522331"/>
            </a:xfrm>
            <a:prstGeom prst="pie">
              <a:avLst>
                <a:gd name="adj1" fmla="val 0"/>
                <a:gd name="adj2" fmla="val 19354869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33" name="Pie 32"/>
            <p:cNvSpPr/>
            <p:nvPr/>
          </p:nvSpPr>
          <p:spPr>
            <a:xfrm rot="16200000">
              <a:off x="6262106" y="2858363"/>
              <a:ext cx="522332" cy="522331"/>
            </a:xfrm>
            <a:prstGeom prst="pie">
              <a:avLst>
                <a:gd name="adj1" fmla="val 0"/>
                <a:gd name="adj2" fmla="val 12778483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 useBgFill="1">
          <p:nvSpPr>
            <p:cNvPr id="35" name="Oval 34"/>
            <p:cNvSpPr>
              <a:spLocks noChangeArrowheads="1"/>
            </p:cNvSpPr>
            <p:nvPr/>
          </p:nvSpPr>
          <p:spPr bwMode="auto">
            <a:xfrm>
              <a:off x="6301322" y="3613608"/>
              <a:ext cx="443903" cy="443901"/>
            </a:xfrm>
            <a:prstGeom prst="ellipse">
              <a:avLst/>
            </a:prstGeom>
            <a:ln w="3175">
              <a:solidFill>
                <a:schemeClr val="accent2"/>
              </a:solidFill>
            </a:ln>
          </p:spPr>
          <p:txBody>
            <a:bodyPr vert="horz" wrap="non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90%</a:t>
              </a:r>
            </a:p>
          </p:txBody>
        </p:sp>
        <p:sp useBgFill="1">
          <p:nvSpPr>
            <p:cNvPr id="37" name="Oval 36"/>
            <p:cNvSpPr>
              <a:spLocks noChangeArrowheads="1"/>
            </p:cNvSpPr>
            <p:nvPr/>
          </p:nvSpPr>
          <p:spPr bwMode="auto">
            <a:xfrm>
              <a:off x="6301322" y="2897578"/>
              <a:ext cx="443903" cy="443901"/>
            </a:xfrm>
            <a:prstGeom prst="ellipse">
              <a:avLst/>
            </a:prstGeom>
            <a:ln w="3175">
              <a:solidFill>
                <a:schemeClr val="accent2"/>
              </a:solidFill>
            </a:ln>
          </p:spPr>
          <p:txBody>
            <a:bodyPr vert="horz" wrap="non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65%</a:t>
              </a:r>
            </a:p>
          </p:txBody>
        </p:sp>
        <p:sp>
          <p:nvSpPr>
            <p:cNvPr id="31" name="Pie 30"/>
            <p:cNvSpPr/>
            <p:nvPr/>
          </p:nvSpPr>
          <p:spPr>
            <a:xfrm rot="16200000">
              <a:off x="5660052" y="3981152"/>
              <a:ext cx="522332" cy="522331"/>
            </a:xfrm>
            <a:prstGeom prst="pie">
              <a:avLst>
                <a:gd name="adj1" fmla="val 0"/>
                <a:gd name="adj2" fmla="val 8839672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 useBgFill="1">
          <p:nvSpPr>
            <p:cNvPr id="34" name="Oval 33"/>
            <p:cNvSpPr>
              <a:spLocks noChangeArrowheads="1"/>
            </p:cNvSpPr>
            <p:nvPr/>
          </p:nvSpPr>
          <p:spPr bwMode="auto">
            <a:xfrm>
              <a:off x="5699267" y="4020366"/>
              <a:ext cx="443903" cy="443901"/>
            </a:xfrm>
            <a:prstGeom prst="ellipse">
              <a:avLst/>
            </a:prstGeom>
            <a:ln w="3175">
              <a:solidFill>
                <a:schemeClr val="accent2"/>
              </a:solidFill>
            </a:ln>
          </p:spPr>
          <p:txBody>
            <a:bodyPr vert="horz" wrap="non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40%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6858619" y="3129526"/>
            <a:ext cx="335407" cy="953527"/>
            <a:chOff x="5143964" y="2347144"/>
            <a:chExt cx="251555" cy="715145"/>
          </a:xfrm>
        </p:grpSpPr>
        <p:cxnSp>
          <p:nvCxnSpPr>
            <p:cNvPr id="49" name="Straight Connector 48"/>
            <p:cNvCxnSpPr>
              <a:stCxn id="3" idx="6"/>
              <a:endCxn id="8" idx="3"/>
            </p:cNvCxnSpPr>
            <p:nvPr/>
          </p:nvCxnSpPr>
          <p:spPr>
            <a:xfrm flipV="1">
              <a:off x="5143964" y="2347144"/>
              <a:ext cx="251555" cy="391585"/>
            </a:xfrm>
            <a:prstGeom prst="line">
              <a:avLst/>
            </a:prstGeom>
            <a:ln>
              <a:solidFill>
                <a:srgbClr val="0065A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>
              <a:stCxn id="3" idx="6"/>
              <a:endCxn id="9" idx="1"/>
            </p:cNvCxnSpPr>
            <p:nvPr/>
          </p:nvCxnSpPr>
          <p:spPr>
            <a:xfrm>
              <a:off x="5143964" y="2738728"/>
              <a:ext cx="251555" cy="323561"/>
            </a:xfrm>
            <a:prstGeom prst="line">
              <a:avLst/>
            </a:prstGeom>
            <a:ln>
              <a:solidFill>
                <a:srgbClr val="0065A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/>
          <p:cNvGrpSpPr/>
          <p:nvPr/>
        </p:nvGrpSpPr>
        <p:grpSpPr>
          <a:xfrm>
            <a:off x="4757565" y="3129526"/>
            <a:ext cx="415745" cy="953527"/>
            <a:chOff x="3568173" y="2347144"/>
            <a:chExt cx="311809" cy="715145"/>
          </a:xfrm>
        </p:grpSpPr>
        <p:cxnSp>
          <p:nvCxnSpPr>
            <p:cNvPr id="77" name="Straight Connector 76"/>
            <p:cNvCxnSpPr>
              <a:stCxn id="3" idx="2"/>
              <a:endCxn id="53" idx="3"/>
            </p:cNvCxnSpPr>
            <p:nvPr/>
          </p:nvCxnSpPr>
          <p:spPr>
            <a:xfrm flipH="1" flipV="1">
              <a:off x="3568173" y="2347144"/>
              <a:ext cx="311809" cy="391585"/>
            </a:xfrm>
            <a:prstGeom prst="line">
              <a:avLst/>
            </a:prstGeom>
            <a:ln>
              <a:solidFill>
                <a:srgbClr val="0065A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>
              <a:stCxn id="3" idx="2"/>
              <a:endCxn id="54" idx="1"/>
            </p:cNvCxnSpPr>
            <p:nvPr/>
          </p:nvCxnSpPr>
          <p:spPr>
            <a:xfrm flipH="1">
              <a:off x="3568173" y="2738728"/>
              <a:ext cx="311809" cy="323561"/>
            </a:xfrm>
            <a:prstGeom prst="line">
              <a:avLst/>
            </a:prstGeom>
            <a:ln>
              <a:solidFill>
                <a:srgbClr val="0065A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Oval 7"/>
          <p:cNvSpPr>
            <a:spLocks noChangeArrowheads="1"/>
          </p:cNvSpPr>
          <p:nvPr/>
        </p:nvSpPr>
        <p:spPr bwMode="auto">
          <a:xfrm>
            <a:off x="7029421" y="2170142"/>
            <a:ext cx="1123987" cy="112398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 bold"/>
                <a:ea typeface="+mn-ea"/>
                <a:cs typeface="+mn-cs"/>
              </a:rPr>
              <a:t>Header 3</a:t>
            </a:r>
          </a:p>
        </p:txBody>
      </p:sp>
      <p:sp>
        <p:nvSpPr>
          <p:cNvPr id="9" name="Oval 8"/>
          <p:cNvSpPr>
            <a:spLocks noChangeArrowheads="1"/>
          </p:cNvSpPr>
          <p:nvPr/>
        </p:nvSpPr>
        <p:spPr bwMode="auto">
          <a:xfrm>
            <a:off x="7029421" y="3918450"/>
            <a:ext cx="1123987" cy="112398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 bold"/>
                <a:ea typeface="+mn-ea"/>
                <a:cs typeface="+mn-cs"/>
              </a:rPr>
              <a:t>Header 4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2905672" y="1249791"/>
            <a:ext cx="1499181" cy="4754855"/>
            <a:chOff x="2179254" y="937343"/>
            <a:chExt cx="1124386" cy="3566141"/>
          </a:xfrm>
        </p:grpSpPr>
        <p:sp>
          <p:nvSpPr>
            <p:cNvPr id="52" name="Pie 51"/>
            <p:cNvSpPr/>
            <p:nvPr/>
          </p:nvSpPr>
          <p:spPr>
            <a:xfrm rot="16200000">
              <a:off x="2781309" y="937343"/>
              <a:ext cx="522332" cy="522331"/>
            </a:xfrm>
            <a:prstGeom prst="pie">
              <a:avLst>
                <a:gd name="adj1" fmla="val 0"/>
                <a:gd name="adj2" fmla="val 12778483"/>
              </a:avLst>
            </a:prstGeom>
            <a:solidFill>
              <a:srgbClr val="0E59A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 useBgFill="1">
          <p:nvSpPr>
            <p:cNvPr id="56" name="Oval 55"/>
            <p:cNvSpPr>
              <a:spLocks noChangeArrowheads="1"/>
            </p:cNvSpPr>
            <p:nvPr/>
          </p:nvSpPr>
          <p:spPr bwMode="auto">
            <a:xfrm flipH="1">
              <a:off x="2820524" y="976558"/>
              <a:ext cx="443903" cy="443901"/>
            </a:xfrm>
            <a:prstGeom prst="ellipse">
              <a:avLst/>
            </a:prstGeom>
            <a:ln w="3175">
              <a:solidFill>
                <a:schemeClr val="tx2">
                  <a:lumMod val="75000"/>
                  <a:lumOff val="25000"/>
                </a:schemeClr>
              </a:solidFill>
            </a:ln>
          </p:spPr>
          <p:txBody>
            <a:bodyPr vert="horz" wrap="non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65%</a:t>
              </a:r>
            </a:p>
          </p:txBody>
        </p:sp>
        <p:sp>
          <p:nvSpPr>
            <p:cNvPr id="62" name="Pie 61"/>
            <p:cNvSpPr/>
            <p:nvPr/>
          </p:nvSpPr>
          <p:spPr>
            <a:xfrm rot="16200000">
              <a:off x="2179254" y="2177694"/>
              <a:ext cx="522332" cy="522331"/>
            </a:xfrm>
            <a:prstGeom prst="pie">
              <a:avLst>
                <a:gd name="adj1" fmla="val 0"/>
                <a:gd name="adj2" fmla="val 8839672"/>
              </a:avLst>
            </a:prstGeom>
            <a:solidFill>
              <a:srgbClr val="0E59A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3" name="Pie 62"/>
            <p:cNvSpPr/>
            <p:nvPr/>
          </p:nvSpPr>
          <p:spPr>
            <a:xfrm rot="16200000">
              <a:off x="2179254" y="1454086"/>
              <a:ext cx="522332" cy="522331"/>
            </a:xfrm>
            <a:prstGeom prst="pie">
              <a:avLst>
                <a:gd name="adj1" fmla="val 0"/>
                <a:gd name="adj2" fmla="val 19354869"/>
              </a:avLst>
            </a:prstGeom>
            <a:solidFill>
              <a:srgbClr val="0E59A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 useBgFill="1">
          <p:nvSpPr>
            <p:cNvPr id="64" name="Oval 63"/>
            <p:cNvSpPr>
              <a:spLocks noChangeArrowheads="1"/>
            </p:cNvSpPr>
            <p:nvPr/>
          </p:nvSpPr>
          <p:spPr bwMode="auto">
            <a:xfrm flipH="1">
              <a:off x="2218470" y="2216908"/>
              <a:ext cx="443903" cy="443901"/>
            </a:xfrm>
            <a:prstGeom prst="ellipse">
              <a:avLst/>
            </a:prstGeom>
            <a:ln w="3175">
              <a:solidFill>
                <a:schemeClr val="tx2">
                  <a:lumMod val="75000"/>
                  <a:lumOff val="25000"/>
                </a:schemeClr>
              </a:solidFill>
            </a:ln>
          </p:spPr>
          <p:txBody>
            <a:bodyPr vert="horz" wrap="non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40%</a:t>
              </a:r>
            </a:p>
          </p:txBody>
        </p:sp>
        <p:sp useBgFill="1">
          <p:nvSpPr>
            <p:cNvPr id="65" name="Oval 64"/>
            <p:cNvSpPr>
              <a:spLocks noChangeArrowheads="1"/>
            </p:cNvSpPr>
            <p:nvPr/>
          </p:nvSpPr>
          <p:spPr bwMode="auto">
            <a:xfrm flipH="1">
              <a:off x="2218470" y="1493301"/>
              <a:ext cx="443903" cy="443901"/>
            </a:xfrm>
            <a:prstGeom prst="ellipse">
              <a:avLst/>
            </a:prstGeom>
            <a:ln w="3175">
              <a:solidFill>
                <a:schemeClr val="tx2">
                  <a:lumMod val="75000"/>
                  <a:lumOff val="25000"/>
                </a:schemeClr>
              </a:solidFill>
            </a:ln>
          </p:spPr>
          <p:txBody>
            <a:bodyPr vert="horz" wrap="non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90%</a:t>
              </a:r>
            </a:p>
          </p:txBody>
        </p:sp>
        <p:sp>
          <p:nvSpPr>
            <p:cNvPr id="66" name="Pie 65"/>
            <p:cNvSpPr/>
            <p:nvPr/>
          </p:nvSpPr>
          <p:spPr>
            <a:xfrm rot="16200000">
              <a:off x="2179254" y="3574392"/>
              <a:ext cx="522332" cy="522331"/>
            </a:xfrm>
            <a:prstGeom prst="pie">
              <a:avLst>
                <a:gd name="adj1" fmla="val 0"/>
                <a:gd name="adj2" fmla="val 19354869"/>
              </a:avLst>
            </a:prstGeom>
            <a:solidFill>
              <a:schemeClr val="accent6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7" name="Pie 66"/>
            <p:cNvSpPr/>
            <p:nvPr/>
          </p:nvSpPr>
          <p:spPr>
            <a:xfrm rot="16200000">
              <a:off x="2179254" y="2858363"/>
              <a:ext cx="522332" cy="522331"/>
            </a:xfrm>
            <a:prstGeom prst="pie">
              <a:avLst>
                <a:gd name="adj1" fmla="val 0"/>
                <a:gd name="adj2" fmla="val 12778483"/>
              </a:avLst>
            </a:prstGeom>
            <a:solidFill>
              <a:schemeClr val="accent6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 useBgFill="1">
          <p:nvSpPr>
            <p:cNvPr id="68" name="Oval 67"/>
            <p:cNvSpPr>
              <a:spLocks noChangeArrowheads="1"/>
            </p:cNvSpPr>
            <p:nvPr/>
          </p:nvSpPr>
          <p:spPr bwMode="auto">
            <a:xfrm flipH="1">
              <a:off x="2218470" y="3613608"/>
              <a:ext cx="443903" cy="443901"/>
            </a:xfrm>
            <a:prstGeom prst="ellipse">
              <a:avLst/>
            </a:prstGeom>
            <a:ln w="3175">
              <a:solidFill>
                <a:srgbClr val="46B3C7"/>
              </a:solidFill>
            </a:ln>
          </p:spPr>
          <p:txBody>
            <a:bodyPr vert="horz" wrap="non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90%</a:t>
              </a:r>
            </a:p>
          </p:txBody>
        </p:sp>
        <p:sp useBgFill="1">
          <p:nvSpPr>
            <p:cNvPr id="69" name="Oval 68"/>
            <p:cNvSpPr>
              <a:spLocks noChangeArrowheads="1"/>
            </p:cNvSpPr>
            <p:nvPr/>
          </p:nvSpPr>
          <p:spPr bwMode="auto">
            <a:xfrm flipH="1">
              <a:off x="2218470" y="2897578"/>
              <a:ext cx="443903" cy="443901"/>
            </a:xfrm>
            <a:prstGeom prst="ellipse">
              <a:avLst/>
            </a:prstGeom>
            <a:ln w="3175">
              <a:solidFill>
                <a:srgbClr val="46B3C7"/>
              </a:solidFill>
            </a:ln>
          </p:spPr>
          <p:txBody>
            <a:bodyPr vert="horz" wrap="non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65%</a:t>
              </a:r>
            </a:p>
          </p:txBody>
        </p:sp>
        <p:sp>
          <p:nvSpPr>
            <p:cNvPr id="70" name="Pie 69"/>
            <p:cNvSpPr/>
            <p:nvPr/>
          </p:nvSpPr>
          <p:spPr>
            <a:xfrm rot="16200000">
              <a:off x="2781309" y="3981152"/>
              <a:ext cx="522332" cy="522331"/>
            </a:xfrm>
            <a:prstGeom prst="pie">
              <a:avLst>
                <a:gd name="adj1" fmla="val 0"/>
                <a:gd name="adj2" fmla="val 8839672"/>
              </a:avLst>
            </a:prstGeom>
            <a:solidFill>
              <a:schemeClr val="accent6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 useBgFill="1">
          <p:nvSpPr>
            <p:cNvPr id="71" name="Oval 70"/>
            <p:cNvSpPr>
              <a:spLocks noChangeArrowheads="1"/>
            </p:cNvSpPr>
            <p:nvPr/>
          </p:nvSpPr>
          <p:spPr bwMode="auto">
            <a:xfrm flipH="1">
              <a:off x="2820524" y="4020366"/>
              <a:ext cx="443903" cy="443901"/>
            </a:xfrm>
            <a:prstGeom prst="ellipse">
              <a:avLst/>
            </a:prstGeom>
            <a:ln w="3175">
              <a:solidFill>
                <a:srgbClr val="46B3C7"/>
              </a:solidFill>
            </a:ln>
          </p:spPr>
          <p:txBody>
            <a:bodyPr vert="horz" wrap="non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40%</a:t>
              </a:r>
            </a:p>
          </p:txBody>
        </p:sp>
      </p:grpSp>
      <p:sp>
        <p:nvSpPr>
          <p:cNvPr id="53" name="Oval 52"/>
          <p:cNvSpPr>
            <a:spLocks noChangeArrowheads="1"/>
          </p:cNvSpPr>
          <p:nvPr/>
        </p:nvSpPr>
        <p:spPr bwMode="auto">
          <a:xfrm flipH="1">
            <a:off x="3798181" y="2170142"/>
            <a:ext cx="1123987" cy="1123985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 bold"/>
                <a:ea typeface="+mn-ea"/>
                <a:cs typeface="+mn-cs"/>
              </a:rPr>
              <a:t>Header 1</a:t>
            </a:r>
          </a:p>
        </p:txBody>
      </p:sp>
      <p:sp>
        <p:nvSpPr>
          <p:cNvPr id="54" name="Oval 53"/>
          <p:cNvSpPr>
            <a:spLocks noChangeArrowheads="1"/>
          </p:cNvSpPr>
          <p:nvPr/>
        </p:nvSpPr>
        <p:spPr bwMode="auto">
          <a:xfrm flipH="1">
            <a:off x="3798181" y="3918450"/>
            <a:ext cx="1123987" cy="1123985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 bold"/>
                <a:ea typeface="+mn-ea"/>
                <a:cs typeface="+mn-cs"/>
              </a:rPr>
              <a:t>Header 2</a:t>
            </a:r>
          </a:p>
        </p:txBody>
      </p:sp>
      <p:sp>
        <p:nvSpPr>
          <p:cNvPr id="3" name="Oval 2"/>
          <p:cNvSpPr>
            <a:spLocks noChangeArrowheads="1"/>
          </p:cNvSpPr>
          <p:nvPr/>
        </p:nvSpPr>
        <p:spPr bwMode="auto">
          <a:xfrm>
            <a:off x="5173311" y="2808985"/>
            <a:ext cx="1685308" cy="168530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1179865" y="1280364"/>
            <a:ext cx="2545772" cy="523220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0" marR="0" lvl="0" indent="0" algn="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dolor sit amet, </a:t>
            </a:r>
          </a:p>
          <a:p>
            <a:pPr marL="0" marR="0" lvl="0" indent="0" algn="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semper assueverit</a:t>
            </a:r>
          </a:p>
        </p:txBody>
      </p:sp>
      <p:sp>
        <p:nvSpPr>
          <p:cNvPr id="72" name="Rectangle 71"/>
          <p:cNvSpPr/>
          <p:nvPr/>
        </p:nvSpPr>
        <p:spPr>
          <a:xfrm>
            <a:off x="406400" y="2039926"/>
            <a:ext cx="2404168" cy="523220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0" marR="0" lvl="0" indent="0" algn="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dolor sit amet, semper assueverit</a:t>
            </a:r>
          </a:p>
        </p:txBody>
      </p:sp>
      <p:sp>
        <p:nvSpPr>
          <p:cNvPr id="74" name="Rectangle 73"/>
          <p:cNvSpPr/>
          <p:nvPr/>
        </p:nvSpPr>
        <p:spPr>
          <a:xfrm>
            <a:off x="406400" y="3004736"/>
            <a:ext cx="2404168" cy="523220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0" marR="0" lvl="0" indent="0" algn="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dolor sit amet, semper assueverit</a:t>
            </a:r>
          </a:p>
        </p:txBody>
      </p:sp>
      <p:sp>
        <p:nvSpPr>
          <p:cNvPr id="75" name="Rectangle 74"/>
          <p:cNvSpPr/>
          <p:nvPr/>
        </p:nvSpPr>
        <p:spPr>
          <a:xfrm>
            <a:off x="406400" y="3898366"/>
            <a:ext cx="2404168" cy="523220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0" marR="0" lvl="0" indent="0" algn="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dolor sit amet, semper assueverit</a:t>
            </a:r>
          </a:p>
        </p:txBody>
      </p:sp>
      <p:sp>
        <p:nvSpPr>
          <p:cNvPr id="76" name="Rectangle 75"/>
          <p:cNvSpPr/>
          <p:nvPr/>
        </p:nvSpPr>
        <p:spPr>
          <a:xfrm>
            <a:off x="406400" y="4821492"/>
            <a:ext cx="2404168" cy="523220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0" marR="0" lvl="0" indent="0" algn="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dolor sit amet, semper assueverit</a:t>
            </a:r>
          </a:p>
        </p:txBody>
      </p:sp>
      <p:sp>
        <p:nvSpPr>
          <p:cNvPr id="80" name="Rectangle 79"/>
          <p:cNvSpPr/>
          <p:nvPr/>
        </p:nvSpPr>
        <p:spPr>
          <a:xfrm>
            <a:off x="1060714" y="5554282"/>
            <a:ext cx="2605281" cy="523220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0" marR="0" lvl="0" indent="0" algn="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dolor sit amet, </a:t>
            </a:r>
          </a:p>
          <a:p>
            <a:pPr marL="0" marR="0" lvl="0" indent="0" algn="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semper assueverit</a:t>
            </a:r>
          </a:p>
        </p:txBody>
      </p:sp>
      <p:sp>
        <p:nvSpPr>
          <p:cNvPr id="81" name="Rectangle 80"/>
          <p:cNvSpPr/>
          <p:nvPr/>
        </p:nvSpPr>
        <p:spPr>
          <a:xfrm>
            <a:off x="8349474" y="1280364"/>
            <a:ext cx="2851153" cy="523220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dolor sit amet, </a:t>
            </a:r>
          </a:p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semper assueverit</a:t>
            </a:r>
          </a:p>
        </p:txBody>
      </p:sp>
      <p:sp>
        <p:nvSpPr>
          <p:cNvPr id="82" name="Rectangle 81"/>
          <p:cNvSpPr/>
          <p:nvPr/>
        </p:nvSpPr>
        <p:spPr>
          <a:xfrm>
            <a:off x="9189411" y="2039926"/>
            <a:ext cx="2596189" cy="523220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dolor sit amet, </a:t>
            </a:r>
          </a:p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semper assueverit</a:t>
            </a:r>
          </a:p>
        </p:txBody>
      </p:sp>
      <p:sp>
        <p:nvSpPr>
          <p:cNvPr id="83" name="Rectangle 82"/>
          <p:cNvSpPr/>
          <p:nvPr/>
        </p:nvSpPr>
        <p:spPr>
          <a:xfrm>
            <a:off x="9189411" y="2955878"/>
            <a:ext cx="2596189" cy="523220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dolor sit amet, </a:t>
            </a:r>
          </a:p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semper assueverit</a:t>
            </a:r>
          </a:p>
        </p:txBody>
      </p:sp>
      <p:sp>
        <p:nvSpPr>
          <p:cNvPr id="84" name="Rectangle 83"/>
          <p:cNvSpPr/>
          <p:nvPr/>
        </p:nvSpPr>
        <p:spPr>
          <a:xfrm>
            <a:off x="9189411" y="3898366"/>
            <a:ext cx="2596189" cy="523220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dolor sit amet, </a:t>
            </a:r>
          </a:p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semper assueverit</a:t>
            </a:r>
          </a:p>
        </p:txBody>
      </p:sp>
      <p:sp>
        <p:nvSpPr>
          <p:cNvPr id="85" name="Rectangle 84"/>
          <p:cNvSpPr/>
          <p:nvPr/>
        </p:nvSpPr>
        <p:spPr>
          <a:xfrm>
            <a:off x="9189411" y="4866337"/>
            <a:ext cx="2596189" cy="523220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dolor sit amet, </a:t>
            </a:r>
          </a:p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semper assueverit</a:t>
            </a:r>
          </a:p>
        </p:txBody>
      </p:sp>
      <p:sp>
        <p:nvSpPr>
          <p:cNvPr id="92" name="Rectangle 91"/>
          <p:cNvSpPr/>
          <p:nvPr/>
        </p:nvSpPr>
        <p:spPr>
          <a:xfrm>
            <a:off x="8422662" y="5575142"/>
            <a:ext cx="2596189" cy="523220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dolor sit amet, </a:t>
            </a:r>
          </a:p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semper assueverit</a:t>
            </a:r>
          </a:p>
        </p:txBody>
      </p:sp>
      <p:sp>
        <p:nvSpPr>
          <p:cNvPr id="87" name="Freeform 85"/>
          <p:cNvSpPr>
            <a:spLocks noEditPoints="1"/>
          </p:cNvSpPr>
          <p:nvPr/>
        </p:nvSpPr>
        <p:spPr bwMode="auto">
          <a:xfrm>
            <a:off x="5554928" y="3119807"/>
            <a:ext cx="922072" cy="1009805"/>
          </a:xfrm>
          <a:custGeom>
            <a:avLst/>
            <a:gdLst>
              <a:gd name="T0" fmla="*/ 309 w 619"/>
              <a:gd name="T1" fmla="*/ 679 h 679"/>
              <a:gd name="T2" fmla="*/ 0 w 619"/>
              <a:gd name="T3" fmla="*/ 369 h 679"/>
              <a:gd name="T4" fmla="*/ 304 w 619"/>
              <a:gd name="T5" fmla="*/ 60 h 679"/>
              <a:gd name="T6" fmla="*/ 309 w 619"/>
              <a:gd name="T7" fmla="*/ 62 h 679"/>
              <a:gd name="T8" fmla="*/ 312 w 619"/>
              <a:gd name="T9" fmla="*/ 67 h 679"/>
              <a:gd name="T10" fmla="*/ 312 w 619"/>
              <a:gd name="T11" fmla="*/ 365 h 679"/>
              <a:gd name="T12" fmla="*/ 561 w 619"/>
              <a:gd name="T13" fmla="*/ 201 h 679"/>
              <a:gd name="T14" fmla="*/ 566 w 619"/>
              <a:gd name="T15" fmla="*/ 200 h 679"/>
              <a:gd name="T16" fmla="*/ 571 w 619"/>
              <a:gd name="T17" fmla="*/ 203 h 679"/>
              <a:gd name="T18" fmla="*/ 619 w 619"/>
              <a:gd name="T19" fmla="*/ 369 h 679"/>
              <a:gd name="T20" fmla="*/ 309 w 619"/>
              <a:gd name="T21" fmla="*/ 679 h 679"/>
              <a:gd name="T22" fmla="*/ 298 w 619"/>
              <a:gd name="T23" fmla="*/ 74 h 679"/>
              <a:gd name="T24" fmla="*/ 14 w 619"/>
              <a:gd name="T25" fmla="*/ 369 h 679"/>
              <a:gd name="T26" fmla="*/ 309 w 619"/>
              <a:gd name="T27" fmla="*/ 665 h 679"/>
              <a:gd name="T28" fmla="*/ 605 w 619"/>
              <a:gd name="T29" fmla="*/ 369 h 679"/>
              <a:gd name="T30" fmla="*/ 563 w 619"/>
              <a:gd name="T31" fmla="*/ 217 h 679"/>
              <a:gd name="T32" fmla="*/ 308 w 619"/>
              <a:gd name="T33" fmla="*/ 384 h 679"/>
              <a:gd name="T34" fmla="*/ 301 w 619"/>
              <a:gd name="T35" fmla="*/ 384 h 679"/>
              <a:gd name="T36" fmla="*/ 298 w 619"/>
              <a:gd name="T37" fmla="*/ 378 h 679"/>
              <a:gd name="T38" fmla="*/ 298 w 619"/>
              <a:gd name="T39" fmla="*/ 74 h 679"/>
              <a:gd name="T40" fmla="*/ 348 w 619"/>
              <a:gd name="T41" fmla="*/ 308 h 679"/>
              <a:gd name="T42" fmla="*/ 345 w 619"/>
              <a:gd name="T43" fmla="*/ 307 h 679"/>
              <a:gd name="T44" fmla="*/ 341 w 619"/>
              <a:gd name="T45" fmla="*/ 301 h 679"/>
              <a:gd name="T46" fmla="*/ 341 w 619"/>
              <a:gd name="T47" fmla="*/ 7 h 679"/>
              <a:gd name="T48" fmla="*/ 343 w 619"/>
              <a:gd name="T49" fmla="*/ 2 h 679"/>
              <a:gd name="T50" fmla="*/ 348 w 619"/>
              <a:gd name="T51" fmla="*/ 0 h 679"/>
              <a:gd name="T52" fmla="*/ 599 w 619"/>
              <a:gd name="T53" fmla="*/ 135 h 679"/>
              <a:gd name="T54" fmla="*/ 600 w 619"/>
              <a:gd name="T55" fmla="*/ 141 h 679"/>
              <a:gd name="T56" fmla="*/ 597 w 619"/>
              <a:gd name="T57" fmla="*/ 145 h 679"/>
              <a:gd name="T58" fmla="*/ 352 w 619"/>
              <a:gd name="T59" fmla="*/ 307 h 679"/>
              <a:gd name="T60" fmla="*/ 348 w 619"/>
              <a:gd name="T61" fmla="*/ 308 h 679"/>
              <a:gd name="T62" fmla="*/ 355 w 619"/>
              <a:gd name="T63" fmla="*/ 14 h 679"/>
              <a:gd name="T64" fmla="*/ 355 w 619"/>
              <a:gd name="T65" fmla="*/ 288 h 679"/>
              <a:gd name="T66" fmla="*/ 583 w 619"/>
              <a:gd name="T67" fmla="*/ 137 h 679"/>
              <a:gd name="T68" fmla="*/ 355 w 619"/>
              <a:gd name="T69" fmla="*/ 14 h 6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19" h="679">
                <a:moveTo>
                  <a:pt x="309" y="679"/>
                </a:moveTo>
                <a:cubicBezTo>
                  <a:pt x="139" y="679"/>
                  <a:pt x="0" y="540"/>
                  <a:pt x="0" y="369"/>
                </a:cubicBezTo>
                <a:cubicBezTo>
                  <a:pt x="0" y="201"/>
                  <a:pt x="136" y="62"/>
                  <a:pt x="304" y="60"/>
                </a:cubicBezTo>
                <a:cubicBezTo>
                  <a:pt x="306" y="60"/>
                  <a:pt x="308" y="60"/>
                  <a:pt x="309" y="62"/>
                </a:cubicBezTo>
                <a:cubicBezTo>
                  <a:pt x="311" y="63"/>
                  <a:pt x="312" y="65"/>
                  <a:pt x="312" y="67"/>
                </a:cubicBezTo>
                <a:cubicBezTo>
                  <a:pt x="312" y="365"/>
                  <a:pt x="312" y="365"/>
                  <a:pt x="312" y="365"/>
                </a:cubicBezTo>
                <a:cubicBezTo>
                  <a:pt x="561" y="201"/>
                  <a:pt x="561" y="201"/>
                  <a:pt x="561" y="201"/>
                </a:cubicBezTo>
                <a:cubicBezTo>
                  <a:pt x="563" y="200"/>
                  <a:pt x="564" y="200"/>
                  <a:pt x="566" y="200"/>
                </a:cubicBezTo>
                <a:cubicBezTo>
                  <a:pt x="568" y="201"/>
                  <a:pt x="570" y="202"/>
                  <a:pt x="571" y="203"/>
                </a:cubicBezTo>
                <a:cubicBezTo>
                  <a:pt x="602" y="253"/>
                  <a:pt x="619" y="310"/>
                  <a:pt x="619" y="369"/>
                </a:cubicBezTo>
                <a:cubicBezTo>
                  <a:pt x="619" y="540"/>
                  <a:pt x="480" y="679"/>
                  <a:pt x="309" y="679"/>
                </a:cubicBezTo>
                <a:close/>
                <a:moveTo>
                  <a:pt x="298" y="74"/>
                </a:moveTo>
                <a:cubicBezTo>
                  <a:pt x="140" y="80"/>
                  <a:pt x="14" y="211"/>
                  <a:pt x="14" y="369"/>
                </a:cubicBezTo>
                <a:cubicBezTo>
                  <a:pt x="14" y="532"/>
                  <a:pt x="146" y="665"/>
                  <a:pt x="309" y="665"/>
                </a:cubicBezTo>
                <a:cubicBezTo>
                  <a:pt x="472" y="665"/>
                  <a:pt x="605" y="532"/>
                  <a:pt x="605" y="369"/>
                </a:cubicBezTo>
                <a:cubicBezTo>
                  <a:pt x="605" y="315"/>
                  <a:pt x="590" y="263"/>
                  <a:pt x="563" y="217"/>
                </a:cubicBezTo>
                <a:cubicBezTo>
                  <a:pt x="308" y="384"/>
                  <a:pt x="308" y="384"/>
                  <a:pt x="308" y="384"/>
                </a:cubicBezTo>
                <a:cubicBezTo>
                  <a:pt x="306" y="386"/>
                  <a:pt x="304" y="386"/>
                  <a:pt x="301" y="384"/>
                </a:cubicBezTo>
                <a:cubicBezTo>
                  <a:pt x="299" y="383"/>
                  <a:pt x="298" y="381"/>
                  <a:pt x="298" y="378"/>
                </a:cubicBezTo>
                <a:lnTo>
                  <a:pt x="298" y="74"/>
                </a:lnTo>
                <a:close/>
                <a:moveTo>
                  <a:pt x="348" y="308"/>
                </a:moveTo>
                <a:cubicBezTo>
                  <a:pt x="347" y="308"/>
                  <a:pt x="346" y="307"/>
                  <a:pt x="345" y="307"/>
                </a:cubicBezTo>
                <a:cubicBezTo>
                  <a:pt x="342" y="306"/>
                  <a:pt x="341" y="303"/>
                  <a:pt x="341" y="301"/>
                </a:cubicBezTo>
                <a:cubicBezTo>
                  <a:pt x="341" y="7"/>
                  <a:pt x="341" y="7"/>
                  <a:pt x="341" y="7"/>
                </a:cubicBezTo>
                <a:cubicBezTo>
                  <a:pt x="341" y="5"/>
                  <a:pt x="342" y="3"/>
                  <a:pt x="343" y="2"/>
                </a:cubicBezTo>
                <a:cubicBezTo>
                  <a:pt x="344" y="1"/>
                  <a:pt x="346" y="0"/>
                  <a:pt x="348" y="0"/>
                </a:cubicBezTo>
                <a:cubicBezTo>
                  <a:pt x="449" y="2"/>
                  <a:pt x="542" y="52"/>
                  <a:pt x="599" y="135"/>
                </a:cubicBezTo>
                <a:cubicBezTo>
                  <a:pt x="600" y="137"/>
                  <a:pt x="600" y="139"/>
                  <a:pt x="600" y="141"/>
                </a:cubicBezTo>
                <a:cubicBezTo>
                  <a:pt x="600" y="143"/>
                  <a:pt x="599" y="144"/>
                  <a:pt x="597" y="145"/>
                </a:cubicBezTo>
                <a:cubicBezTo>
                  <a:pt x="352" y="307"/>
                  <a:pt x="352" y="307"/>
                  <a:pt x="352" y="307"/>
                </a:cubicBezTo>
                <a:cubicBezTo>
                  <a:pt x="351" y="307"/>
                  <a:pt x="349" y="308"/>
                  <a:pt x="348" y="308"/>
                </a:cubicBezTo>
                <a:close/>
                <a:moveTo>
                  <a:pt x="355" y="14"/>
                </a:moveTo>
                <a:cubicBezTo>
                  <a:pt x="355" y="288"/>
                  <a:pt x="355" y="288"/>
                  <a:pt x="355" y="288"/>
                </a:cubicBezTo>
                <a:cubicBezTo>
                  <a:pt x="583" y="137"/>
                  <a:pt x="583" y="137"/>
                  <a:pt x="583" y="137"/>
                </a:cubicBezTo>
                <a:cubicBezTo>
                  <a:pt x="530" y="63"/>
                  <a:pt x="446" y="18"/>
                  <a:pt x="355" y="1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47149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18A97C-BA6A-484F-8077-EE12AED98F7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IN"/>
              <a:t>Your headline will go her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6ABD587-389E-462A-8E76-0AFA2F2810E3}"/>
              </a:ext>
            </a:extLst>
          </p:cNvPr>
          <p:cNvGrpSpPr/>
          <p:nvPr/>
        </p:nvGrpSpPr>
        <p:grpSpPr>
          <a:xfrm>
            <a:off x="1044629" y="1410893"/>
            <a:ext cx="8883596" cy="4499635"/>
            <a:chOff x="1044629" y="1410893"/>
            <a:chExt cx="8883596" cy="4499635"/>
          </a:xfrm>
        </p:grpSpPr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2D87BF87-90D8-4BE0-87CE-D05E0F32EF9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92000" y="1944214"/>
              <a:ext cx="578155" cy="382898"/>
            </a:xfrm>
            <a:prstGeom prst="line">
              <a:avLst/>
            </a:prstGeom>
            <a:ln>
              <a:solidFill>
                <a:srgbClr val="BFBFB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C878383E-7BFD-4125-9E81-A585D92EB0B7}"/>
                </a:ext>
              </a:extLst>
            </p:cNvPr>
            <p:cNvCxnSpPr>
              <a:cxnSpLocks/>
              <a:stCxn id="151" idx="3"/>
            </p:cNvCxnSpPr>
            <p:nvPr/>
          </p:nvCxnSpPr>
          <p:spPr>
            <a:xfrm flipV="1">
              <a:off x="2708040" y="3010701"/>
              <a:ext cx="1041925" cy="385719"/>
            </a:xfrm>
            <a:prstGeom prst="line">
              <a:avLst/>
            </a:prstGeom>
            <a:ln>
              <a:solidFill>
                <a:srgbClr val="BFBFB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E5C8472B-BE0B-4E80-A416-20C485847FCB}"/>
                </a:ext>
              </a:extLst>
            </p:cNvPr>
            <p:cNvCxnSpPr>
              <a:cxnSpLocks/>
              <a:stCxn id="152" idx="3"/>
            </p:cNvCxnSpPr>
            <p:nvPr/>
          </p:nvCxnSpPr>
          <p:spPr>
            <a:xfrm flipV="1">
              <a:off x="2708040" y="4028505"/>
              <a:ext cx="1764197" cy="383957"/>
            </a:xfrm>
            <a:prstGeom prst="line">
              <a:avLst/>
            </a:prstGeom>
            <a:ln>
              <a:solidFill>
                <a:srgbClr val="BFBFB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2187C19-BFF8-4F35-8923-0F03C38CA56C}"/>
                </a:ext>
              </a:extLst>
            </p:cNvPr>
            <p:cNvCxnSpPr>
              <a:cxnSpLocks/>
              <a:stCxn id="153" idx="3"/>
            </p:cNvCxnSpPr>
            <p:nvPr/>
          </p:nvCxnSpPr>
          <p:spPr>
            <a:xfrm flipV="1">
              <a:off x="2708040" y="5046310"/>
              <a:ext cx="1903431" cy="347572"/>
            </a:xfrm>
            <a:prstGeom prst="line">
              <a:avLst/>
            </a:prstGeom>
            <a:ln>
              <a:solidFill>
                <a:srgbClr val="BFBFB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Freeform 17">
              <a:extLst>
                <a:ext uri="{FF2B5EF4-FFF2-40B4-BE49-F238E27FC236}">
                  <a16:creationId xmlns:a16="http://schemas.microsoft.com/office/drawing/2014/main" id="{56F46235-E95B-472F-84E3-65C78F2E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204" y="4902417"/>
              <a:ext cx="4814964" cy="1006350"/>
            </a:xfrm>
            <a:custGeom>
              <a:avLst/>
              <a:gdLst>
                <a:gd name="T0" fmla="*/ 2732 w 2732"/>
                <a:gd name="T1" fmla="*/ 571 h 571"/>
                <a:gd name="T2" fmla="*/ 2732 w 2732"/>
                <a:gd name="T3" fmla="*/ 0 h 571"/>
                <a:gd name="T4" fmla="*/ 330 w 2732"/>
                <a:gd name="T5" fmla="*/ 0 h 571"/>
                <a:gd name="T6" fmla="*/ 0 w 2732"/>
                <a:gd name="T7" fmla="*/ 571 h 571"/>
                <a:gd name="T8" fmla="*/ 2732 w 2732"/>
                <a:gd name="T9" fmla="*/ 571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2" h="571">
                  <a:moveTo>
                    <a:pt x="2732" y="571"/>
                  </a:moveTo>
                  <a:lnTo>
                    <a:pt x="2732" y="0"/>
                  </a:lnTo>
                  <a:lnTo>
                    <a:pt x="330" y="0"/>
                  </a:lnTo>
                  <a:lnTo>
                    <a:pt x="0" y="571"/>
                  </a:lnTo>
                  <a:lnTo>
                    <a:pt x="2732" y="57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4" name="Freeform 18">
              <a:extLst>
                <a:ext uri="{FF2B5EF4-FFF2-40B4-BE49-F238E27FC236}">
                  <a16:creationId xmlns:a16="http://schemas.microsoft.com/office/drawing/2014/main" id="{7C699E9A-37E0-49E3-B4A0-E813BCAF6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204" y="4902417"/>
              <a:ext cx="4814964" cy="1006350"/>
            </a:xfrm>
            <a:custGeom>
              <a:avLst/>
              <a:gdLst>
                <a:gd name="T0" fmla="*/ 2732 w 2732"/>
                <a:gd name="T1" fmla="*/ 571 h 571"/>
                <a:gd name="T2" fmla="*/ 2732 w 2732"/>
                <a:gd name="T3" fmla="*/ 0 h 571"/>
                <a:gd name="T4" fmla="*/ 330 w 2732"/>
                <a:gd name="T5" fmla="*/ 0 h 571"/>
                <a:gd name="T6" fmla="*/ 0 w 2732"/>
                <a:gd name="T7" fmla="*/ 571 h 571"/>
                <a:gd name="T8" fmla="*/ 2732 w 2732"/>
                <a:gd name="T9" fmla="*/ 571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2" h="571">
                  <a:moveTo>
                    <a:pt x="2732" y="571"/>
                  </a:moveTo>
                  <a:lnTo>
                    <a:pt x="2732" y="0"/>
                  </a:lnTo>
                  <a:lnTo>
                    <a:pt x="330" y="0"/>
                  </a:lnTo>
                  <a:lnTo>
                    <a:pt x="0" y="571"/>
                  </a:lnTo>
                  <a:lnTo>
                    <a:pt x="2732" y="57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5" name="Freeform 19">
              <a:extLst>
                <a:ext uri="{FF2B5EF4-FFF2-40B4-BE49-F238E27FC236}">
                  <a16:creationId xmlns:a16="http://schemas.microsoft.com/office/drawing/2014/main" id="{F236F209-9D20-4FF8-BA24-931778E68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2871" y="3897831"/>
              <a:ext cx="4814964" cy="1004586"/>
            </a:xfrm>
            <a:custGeom>
              <a:avLst/>
              <a:gdLst>
                <a:gd name="T0" fmla="*/ 2732 w 2732"/>
                <a:gd name="T1" fmla="*/ 570 h 570"/>
                <a:gd name="T2" fmla="*/ 2732 w 2732"/>
                <a:gd name="T3" fmla="*/ 0 h 570"/>
                <a:gd name="T4" fmla="*/ 330 w 2732"/>
                <a:gd name="T5" fmla="*/ 0 h 570"/>
                <a:gd name="T6" fmla="*/ 0 w 2732"/>
                <a:gd name="T7" fmla="*/ 570 h 570"/>
                <a:gd name="T8" fmla="*/ 2732 w 2732"/>
                <a:gd name="T9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2" h="570">
                  <a:moveTo>
                    <a:pt x="2732" y="570"/>
                  </a:moveTo>
                  <a:lnTo>
                    <a:pt x="2732" y="0"/>
                  </a:lnTo>
                  <a:lnTo>
                    <a:pt x="330" y="0"/>
                  </a:lnTo>
                  <a:lnTo>
                    <a:pt x="0" y="570"/>
                  </a:lnTo>
                  <a:lnTo>
                    <a:pt x="2732" y="57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6" name="Freeform 20">
              <a:extLst>
                <a:ext uri="{FF2B5EF4-FFF2-40B4-BE49-F238E27FC236}">
                  <a16:creationId xmlns:a16="http://schemas.microsoft.com/office/drawing/2014/main" id="{EB6011B1-2CA1-4EF1-BE8B-9D310D82CC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204" y="3897831"/>
              <a:ext cx="4814964" cy="1004586"/>
            </a:xfrm>
            <a:custGeom>
              <a:avLst/>
              <a:gdLst>
                <a:gd name="T0" fmla="*/ 2732 w 2732"/>
                <a:gd name="T1" fmla="*/ 570 h 570"/>
                <a:gd name="T2" fmla="*/ 2732 w 2732"/>
                <a:gd name="T3" fmla="*/ 0 h 570"/>
                <a:gd name="T4" fmla="*/ 330 w 2732"/>
                <a:gd name="T5" fmla="*/ 0 h 570"/>
                <a:gd name="T6" fmla="*/ 0 w 2732"/>
                <a:gd name="T7" fmla="*/ 570 h 570"/>
                <a:gd name="T8" fmla="*/ 2732 w 2732"/>
                <a:gd name="T9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2" h="570">
                  <a:moveTo>
                    <a:pt x="2732" y="570"/>
                  </a:moveTo>
                  <a:lnTo>
                    <a:pt x="2732" y="0"/>
                  </a:lnTo>
                  <a:lnTo>
                    <a:pt x="330" y="0"/>
                  </a:lnTo>
                  <a:lnTo>
                    <a:pt x="0" y="570"/>
                  </a:lnTo>
                  <a:lnTo>
                    <a:pt x="2732" y="5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7" name="Freeform 21">
              <a:extLst>
                <a:ext uri="{FF2B5EF4-FFF2-40B4-BE49-F238E27FC236}">
                  <a16:creationId xmlns:a16="http://schemas.microsoft.com/office/drawing/2014/main" id="{72213F4C-268F-4C5C-8A9D-959F4C851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204" y="2895007"/>
              <a:ext cx="4814964" cy="1002824"/>
            </a:xfrm>
            <a:custGeom>
              <a:avLst/>
              <a:gdLst>
                <a:gd name="T0" fmla="*/ 2732 w 2732"/>
                <a:gd name="T1" fmla="*/ 569 h 569"/>
                <a:gd name="T2" fmla="*/ 2732 w 2732"/>
                <a:gd name="T3" fmla="*/ 0 h 569"/>
                <a:gd name="T4" fmla="*/ 330 w 2732"/>
                <a:gd name="T5" fmla="*/ 0 h 569"/>
                <a:gd name="T6" fmla="*/ 0 w 2732"/>
                <a:gd name="T7" fmla="*/ 569 h 569"/>
                <a:gd name="T8" fmla="*/ 2732 w 2732"/>
                <a:gd name="T9" fmla="*/ 569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2" h="569">
                  <a:moveTo>
                    <a:pt x="2732" y="569"/>
                  </a:moveTo>
                  <a:lnTo>
                    <a:pt x="2732" y="0"/>
                  </a:lnTo>
                  <a:lnTo>
                    <a:pt x="330" y="0"/>
                  </a:lnTo>
                  <a:lnTo>
                    <a:pt x="0" y="569"/>
                  </a:lnTo>
                  <a:lnTo>
                    <a:pt x="2732" y="569"/>
                  </a:lnTo>
                  <a:close/>
                </a:path>
              </a:pathLst>
            </a:custGeom>
            <a:solidFill>
              <a:srgbClr val="003C8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8" name="Freeform 22">
              <a:extLst>
                <a:ext uri="{FF2B5EF4-FFF2-40B4-BE49-F238E27FC236}">
                  <a16:creationId xmlns:a16="http://schemas.microsoft.com/office/drawing/2014/main" id="{577171DE-9189-4ED6-B3F6-60535601B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204" y="2895007"/>
              <a:ext cx="4814964" cy="1002824"/>
            </a:xfrm>
            <a:custGeom>
              <a:avLst/>
              <a:gdLst>
                <a:gd name="T0" fmla="*/ 2732 w 2732"/>
                <a:gd name="T1" fmla="*/ 569 h 569"/>
                <a:gd name="T2" fmla="*/ 2732 w 2732"/>
                <a:gd name="T3" fmla="*/ 0 h 569"/>
                <a:gd name="T4" fmla="*/ 330 w 2732"/>
                <a:gd name="T5" fmla="*/ 0 h 569"/>
                <a:gd name="T6" fmla="*/ 0 w 2732"/>
                <a:gd name="T7" fmla="*/ 569 h 569"/>
                <a:gd name="T8" fmla="*/ 2732 w 2732"/>
                <a:gd name="T9" fmla="*/ 569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2" h="569">
                  <a:moveTo>
                    <a:pt x="2732" y="569"/>
                  </a:moveTo>
                  <a:lnTo>
                    <a:pt x="2732" y="0"/>
                  </a:lnTo>
                  <a:lnTo>
                    <a:pt x="330" y="0"/>
                  </a:lnTo>
                  <a:lnTo>
                    <a:pt x="0" y="569"/>
                  </a:lnTo>
                  <a:lnTo>
                    <a:pt x="2732" y="56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9" name="Freeform 23">
              <a:extLst>
                <a:ext uri="{FF2B5EF4-FFF2-40B4-BE49-F238E27FC236}">
                  <a16:creationId xmlns:a16="http://schemas.microsoft.com/office/drawing/2014/main" id="{2BFF4968-1546-4881-A782-036FEB760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204" y="1888658"/>
              <a:ext cx="4814964" cy="1006350"/>
            </a:xfrm>
            <a:custGeom>
              <a:avLst/>
              <a:gdLst>
                <a:gd name="T0" fmla="*/ 2732 w 2732"/>
                <a:gd name="T1" fmla="*/ 571 h 571"/>
                <a:gd name="T2" fmla="*/ 2732 w 2732"/>
                <a:gd name="T3" fmla="*/ 0 h 571"/>
                <a:gd name="T4" fmla="*/ 330 w 2732"/>
                <a:gd name="T5" fmla="*/ 0 h 571"/>
                <a:gd name="T6" fmla="*/ 0 w 2732"/>
                <a:gd name="T7" fmla="*/ 571 h 571"/>
                <a:gd name="T8" fmla="*/ 2732 w 2732"/>
                <a:gd name="T9" fmla="*/ 571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2" h="571">
                  <a:moveTo>
                    <a:pt x="2732" y="571"/>
                  </a:moveTo>
                  <a:lnTo>
                    <a:pt x="2732" y="0"/>
                  </a:lnTo>
                  <a:lnTo>
                    <a:pt x="330" y="0"/>
                  </a:lnTo>
                  <a:lnTo>
                    <a:pt x="0" y="571"/>
                  </a:lnTo>
                  <a:lnTo>
                    <a:pt x="2732" y="571"/>
                  </a:lnTo>
                  <a:close/>
                </a:path>
              </a:pathLst>
            </a:custGeom>
            <a:solidFill>
              <a:srgbClr val="002856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0" name="Freeform 24">
              <a:extLst>
                <a:ext uri="{FF2B5EF4-FFF2-40B4-BE49-F238E27FC236}">
                  <a16:creationId xmlns:a16="http://schemas.microsoft.com/office/drawing/2014/main" id="{5BDF5599-FC23-4A12-B8C1-9C15627684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204" y="1888658"/>
              <a:ext cx="4814964" cy="1006350"/>
            </a:xfrm>
            <a:custGeom>
              <a:avLst/>
              <a:gdLst>
                <a:gd name="T0" fmla="*/ 2732 w 2732"/>
                <a:gd name="T1" fmla="*/ 571 h 571"/>
                <a:gd name="T2" fmla="*/ 2732 w 2732"/>
                <a:gd name="T3" fmla="*/ 0 h 571"/>
                <a:gd name="T4" fmla="*/ 330 w 2732"/>
                <a:gd name="T5" fmla="*/ 0 h 571"/>
                <a:gd name="T6" fmla="*/ 0 w 2732"/>
                <a:gd name="T7" fmla="*/ 571 h 571"/>
                <a:gd name="T8" fmla="*/ 2732 w 2732"/>
                <a:gd name="T9" fmla="*/ 571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2" h="571">
                  <a:moveTo>
                    <a:pt x="2732" y="571"/>
                  </a:moveTo>
                  <a:lnTo>
                    <a:pt x="2732" y="0"/>
                  </a:lnTo>
                  <a:lnTo>
                    <a:pt x="330" y="0"/>
                  </a:lnTo>
                  <a:lnTo>
                    <a:pt x="0" y="571"/>
                  </a:lnTo>
                  <a:lnTo>
                    <a:pt x="2732" y="57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1" name="Freeform 32">
              <a:extLst>
                <a:ext uri="{FF2B5EF4-FFF2-40B4-BE49-F238E27FC236}">
                  <a16:creationId xmlns:a16="http://schemas.microsoft.com/office/drawing/2014/main" id="{F7854A55-484E-4CB1-ADE6-BE0591B03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1385" y="1410893"/>
              <a:ext cx="1810018" cy="937614"/>
            </a:xfrm>
            <a:custGeom>
              <a:avLst/>
              <a:gdLst>
                <a:gd name="T0" fmla="*/ 790 w 1027"/>
                <a:gd name="T1" fmla="*/ 0 h 532"/>
                <a:gd name="T2" fmla="*/ 91 w 1027"/>
                <a:gd name="T3" fmla="*/ 0 h 532"/>
                <a:gd name="T4" fmla="*/ 0 w 1027"/>
                <a:gd name="T5" fmla="*/ 85 h 532"/>
                <a:gd name="T6" fmla="*/ 91 w 1027"/>
                <a:gd name="T7" fmla="*/ 85 h 532"/>
                <a:gd name="T8" fmla="*/ 292 w 1027"/>
                <a:gd name="T9" fmla="*/ 532 h 532"/>
                <a:gd name="T10" fmla="*/ 1027 w 1027"/>
                <a:gd name="T11" fmla="*/ 532 h 532"/>
                <a:gd name="T12" fmla="*/ 790 w 1027"/>
                <a:gd name="T13" fmla="*/ 0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7" h="532">
                  <a:moveTo>
                    <a:pt x="790" y="0"/>
                  </a:moveTo>
                  <a:lnTo>
                    <a:pt x="91" y="0"/>
                  </a:lnTo>
                  <a:lnTo>
                    <a:pt x="0" y="85"/>
                  </a:lnTo>
                  <a:lnTo>
                    <a:pt x="91" y="85"/>
                  </a:lnTo>
                  <a:lnTo>
                    <a:pt x="292" y="532"/>
                  </a:lnTo>
                  <a:lnTo>
                    <a:pt x="1027" y="532"/>
                  </a:lnTo>
                  <a:lnTo>
                    <a:pt x="790" y="0"/>
                  </a:lnTo>
                  <a:close/>
                </a:path>
              </a:pathLst>
            </a:custGeom>
            <a:solidFill>
              <a:srgbClr val="00285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2" name="Freeform 37">
              <a:extLst>
                <a:ext uri="{FF2B5EF4-FFF2-40B4-BE49-F238E27FC236}">
                  <a16:creationId xmlns:a16="http://schemas.microsoft.com/office/drawing/2014/main" id="{7982415C-2625-4373-BE8E-8788BF229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2911" y="1554286"/>
              <a:ext cx="4658109" cy="1002824"/>
            </a:xfrm>
            <a:custGeom>
              <a:avLst/>
              <a:gdLst>
                <a:gd name="T0" fmla="*/ 2300 w 2643"/>
                <a:gd name="T1" fmla="*/ 569 h 569"/>
                <a:gd name="T2" fmla="*/ 330 w 2643"/>
                <a:gd name="T3" fmla="*/ 569 h 569"/>
                <a:gd name="T4" fmla="*/ 0 w 2643"/>
                <a:gd name="T5" fmla="*/ 0 h 569"/>
                <a:gd name="T6" fmla="*/ 2643 w 2643"/>
                <a:gd name="T7" fmla="*/ 0 h 569"/>
                <a:gd name="T8" fmla="*/ 2300 w 2643"/>
                <a:gd name="T9" fmla="*/ 569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43" h="569">
                  <a:moveTo>
                    <a:pt x="2300" y="569"/>
                  </a:moveTo>
                  <a:lnTo>
                    <a:pt x="330" y="569"/>
                  </a:lnTo>
                  <a:lnTo>
                    <a:pt x="0" y="0"/>
                  </a:lnTo>
                  <a:lnTo>
                    <a:pt x="2643" y="0"/>
                  </a:lnTo>
                  <a:lnTo>
                    <a:pt x="2300" y="569"/>
                  </a:lnTo>
                  <a:close/>
                </a:path>
              </a:pathLst>
            </a:custGeom>
            <a:solidFill>
              <a:srgbClr val="003C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3" name="Freeform 38">
              <a:extLst>
                <a:ext uri="{FF2B5EF4-FFF2-40B4-BE49-F238E27FC236}">
                  <a16:creationId xmlns:a16="http://schemas.microsoft.com/office/drawing/2014/main" id="{DDACDF32-9C91-4D6F-8AB9-49316A78C1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9955" y="1548507"/>
              <a:ext cx="4658109" cy="1002824"/>
            </a:xfrm>
            <a:custGeom>
              <a:avLst/>
              <a:gdLst>
                <a:gd name="T0" fmla="*/ 2300 w 2643"/>
                <a:gd name="T1" fmla="*/ 569 h 569"/>
                <a:gd name="T2" fmla="*/ 330 w 2643"/>
                <a:gd name="T3" fmla="*/ 569 h 569"/>
                <a:gd name="T4" fmla="*/ 0 w 2643"/>
                <a:gd name="T5" fmla="*/ 0 h 569"/>
                <a:gd name="T6" fmla="*/ 2643 w 2643"/>
                <a:gd name="T7" fmla="*/ 0 h 569"/>
                <a:gd name="T8" fmla="*/ 2300 w 2643"/>
                <a:gd name="T9" fmla="*/ 569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43" h="569">
                  <a:moveTo>
                    <a:pt x="2300" y="569"/>
                  </a:moveTo>
                  <a:lnTo>
                    <a:pt x="330" y="569"/>
                  </a:lnTo>
                  <a:lnTo>
                    <a:pt x="0" y="0"/>
                  </a:lnTo>
                  <a:lnTo>
                    <a:pt x="2643" y="0"/>
                  </a:lnTo>
                  <a:lnTo>
                    <a:pt x="2300" y="56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4" name="Freeform 42">
              <a:extLst>
                <a:ext uri="{FF2B5EF4-FFF2-40B4-BE49-F238E27FC236}">
                  <a16:creationId xmlns:a16="http://schemas.microsoft.com/office/drawing/2014/main" id="{DA59BB22-1093-4526-9A38-574EFAFC0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1192" y="2546662"/>
              <a:ext cx="3635898" cy="1006350"/>
            </a:xfrm>
            <a:custGeom>
              <a:avLst/>
              <a:gdLst>
                <a:gd name="T0" fmla="*/ 1727 w 2063"/>
                <a:gd name="T1" fmla="*/ 571 h 571"/>
                <a:gd name="T2" fmla="*/ 330 w 2063"/>
                <a:gd name="T3" fmla="*/ 571 h 571"/>
                <a:gd name="T4" fmla="*/ 0 w 2063"/>
                <a:gd name="T5" fmla="*/ 0 h 571"/>
                <a:gd name="T6" fmla="*/ 2063 w 2063"/>
                <a:gd name="T7" fmla="*/ 0 h 571"/>
                <a:gd name="T8" fmla="*/ 1727 w 2063"/>
                <a:gd name="T9" fmla="*/ 571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3" h="571">
                  <a:moveTo>
                    <a:pt x="1727" y="571"/>
                  </a:moveTo>
                  <a:lnTo>
                    <a:pt x="330" y="571"/>
                  </a:lnTo>
                  <a:lnTo>
                    <a:pt x="0" y="0"/>
                  </a:lnTo>
                  <a:lnTo>
                    <a:pt x="2063" y="0"/>
                  </a:lnTo>
                  <a:lnTo>
                    <a:pt x="1727" y="571"/>
                  </a:lnTo>
                  <a:close/>
                </a:path>
              </a:pathLst>
            </a:custGeom>
            <a:solidFill>
              <a:srgbClr val="0059C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6" name="Freeform 44">
              <a:extLst>
                <a:ext uri="{FF2B5EF4-FFF2-40B4-BE49-F238E27FC236}">
                  <a16:creationId xmlns:a16="http://schemas.microsoft.com/office/drawing/2014/main" id="{616738F7-3722-4878-B43A-325ECC579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001" y="3553327"/>
              <a:ext cx="2606638" cy="1004586"/>
            </a:xfrm>
            <a:custGeom>
              <a:avLst/>
              <a:gdLst>
                <a:gd name="T0" fmla="*/ 1148 w 1479"/>
                <a:gd name="T1" fmla="*/ 570 h 570"/>
                <a:gd name="T2" fmla="*/ 325 w 1479"/>
                <a:gd name="T3" fmla="*/ 570 h 570"/>
                <a:gd name="T4" fmla="*/ 0 w 1479"/>
                <a:gd name="T5" fmla="*/ 0 h 570"/>
                <a:gd name="T6" fmla="*/ 1479 w 1479"/>
                <a:gd name="T7" fmla="*/ 0 h 570"/>
                <a:gd name="T8" fmla="*/ 1148 w 1479"/>
                <a:gd name="T9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9" h="570">
                  <a:moveTo>
                    <a:pt x="1148" y="570"/>
                  </a:moveTo>
                  <a:lnTo>
                    <a:pt x="325" y="570"/>
                  </a:lnTo>
                  <a:lnTo>
                    <a:pt x="0" y="0"/>
                  </a:lnTo>
                  <a:lnTo>
                    <a:pt x="1479" y="0"/>
                  </a:lnTo>
                  <a:lnTo>
                    <a:pt x="1148" y="570"/>
                  </a:lnTo>
                  <a:close/>
                </a:path>
              </a:pathLst>
            </a:custGeom>
            <a:solidFill>
              <a:srgbClr val="0FC9F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7" name="Freeform 45">
              <a:extLst>
                <a:ext uri="{FF2B5EF4-FFF2-40B4-BE49-F238E27FC236}">
                  <a16:creationId xmlns:a16="http://schemas.microsoft.com/office/drawing/2014/main" id="{4613EBA3-1D6F-48C7-8E2D-58A00BE52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647" y="3557682"/>
              <a:ext cx="2606638" cy="1004586"/>
            </a:xfrm>
            <a:custGeom>
              <a:avLst/>
              <a:gdLst>
                <a:gd name="T0" fmla="*/ 1148 w 1479"/>
                <a:gd name="T1" fmla="*/ 570 h 570"/>
                <a:gd name="T2" fmla="*/ 325 w 1479"/>
                <a:gd name="T3" fmla="*/ 570 h 570"/>
                <a:gd name="T4" fmla="*/ 0 w 1479"/>
                <a:gd name="T5" fmla="*/ 0 h 570"/>
                <a:gd name="T6" fmla="*/ 1479 w 1479"/>
                <a:gd name="T7" fmla="*/ 0 h 570"/>
                <a:gd name="T8" fmla="*/ 1148 w 1479"/>
                <a:gd name="T9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9" h="570">
                  <a:moveTo>
                    <a:pt x="1148" y="570"/>
                  </a:moveTo>
                  <a:lnTo>
                    <a:pt x="325" y="570"/>
                  </a:lnTo>
                  <a:lnTo>
                    <a:pt x="0" y="0"/>
                  </a:lnTo>
                  <a:lnTo>
                    <a:pt x="1479" y="0"/>
                  </a:lnTo>
                  <a:lnTo>
                    <a:pt x="1148" y="5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8" name="Freeform 46">
              <a:extLst>
                <a:ext uri="{FF2B5EF4-FFF2-40B4-BE49-F238E27FC236}">
                  <a16:creationId xmlns:a16="http://schemas.microsoft.com/office/drawing/2014/main" id="{C7D5676E-AD10-4FCA-936F-541500556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1744" y="4561477"/>
              <a:ext cx="1589714" cy="1006350"/>
            </a:xfrm>
            <a:custGeom>
              <a:avLst/>
              <a:gdLst>
                <a:gd name="T0" fmla="*/ 330 w 902"/>
                <a:gd name="T1" fmla="*/ 571 h 571"/>
                <a:gd name="T2" fmla="*/ 0 w 902"/>
                <a:gd name="T3" fmla="*/ 0 h 571"/>
                <a:gd name="T4" fmla="*/ 902 w 902"/>
                <a:gd name="T5" fmla="*/ 0 h 571"/>
                <a:gd name="T6" fmla="*/ 572 w 902"/>
                <a:gd name="T7" fmla="*/ 571 h 571"/>
                <a:gd name="T8" fmla="*/ 330 w 902"/>
                <a:gd name="T9" fmla="*/ 571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2" h="571">
                  <a:moveTo>
                    <a:pt x="330" y="571"/>
                  </a:moveTo>
                  <a:lnTo>
                    <a:pt x="0" y="0"/>
                  </a:lnTo>
                  <a:lnTo>
                    <a:pt x="902" y="0"/>
                  </a:lnTo>
                  <a:lnTo>
                    <a:pt x="572" y="571"/>
                  </a:lnTo>
                  <a:lnTo>
                    <a:pt x="330" y="571"/>
                  </a:lnTo>
                  <a:close/>
                </a:path>
              </a:pathLst>
            </a:custGeom>
            <a:solidFill>
              <a:srgbClr val="B6C2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9" name="Freeform 47">
              <a:extLst>
                <a:ext uri="{FF2B5EF4-FFF2-40B4-BE49-F238E27FC236}">
                  <a16:creationId xmlns:a16="http://schemas.microsoft.com/office/drawing/2014/main" id="{E819FA2F-B957-457F-8B41-84B6005A62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2667" y="4560508"/>
              <a:ext cx="1589714" cy="1006350"/>
            </a:xfrm>
            <a:custGeom>
              <a:avLst/>
              <a:gdLst>
                <a:gd name="T0" fmla="*/ 330 w 902"/>
                <a:gd name="T1" fmla="*/ 571 h 571"/>
                <a:gd name="T2" fmla="*/ 0 w 902"/>
                <a:gd name="T3" fmla="*/ 0 h 571"/>
                <a:gd name="T4" fmla="*/ 902 w 902"/>
                <a:gd name="T5" fmla="*/ 0 h 571"/>
                <a:gd name="T6" fmla="*/ 572 w 902"/>
                <a:gd name="T7" fmla="*/ 571 h 571"/>
                <a:gd name="T8" fmla="*/ 330 w 902"/>
                <a:gd name="T9" fmla="*/ 571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2" h="571">
                  <a:moveTo>
                    <a:pt x="330" y="571"/>
                  </a:moveTo>
                  <a:lnTo>
                    <a:pt x="0" y="0"/>
                  </a:lnTo>
                  <a:lnTo>
                    <a:pt x="902" y="0"/>
                  </a:lnTo>
                  <a:lnTo>
                    <a:pt x="572" y="571"/>
                  </a:lnTo>
                  <a:lnTo>
                    <a:pt x="330" y="57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0" name="Freeform 48">
              <a:extLst>
                <a:ext uri="{FF2B5EF4-FFF2-40B4-BE49-F238E27FC236}">
                  <a16:creationId xmlns:a16="http://schemas.microsoft.com/office/drawing/2014/main" id="{D9FCF6EE-E02B-42BD-8B40-BB66DC0ADD8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3621" y="1751189"/>
              <a:ext cx="82835" cy="137470"/>
            </a:xfrm>
            <a:custGeom>
              <a:avLst/>
              <a:gdLst>
                <a:gd name="T0" fmla="*/ 47 w 47"/>
                <a:gd name="T1" fmla="*/ 0 h 78"/>
                <a:gd name="T2" fmla="*/ 0 w 47"/>
                <a:gd name="T3" fmla="*/ 78 h 78"/>
                <a:gd name="T4" fmla="*/ 1 w 47"/>
                <a:gd name="T5" fmla="*/ 78 h 78"/>
                <a:gd name="T6" fmla="*/ 47 w 47"/>
                <a:gd name="T7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78">
                  <a:moveTo>
                    <a:pt x="47" y="0"/>
                  </a:moveTo>
                  <a:lnTo>
                    <a:pt x="0" y="78"/>
                  </a:lnTo>
                  <a:lnTo>
                    <a:pt x="1" y="78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1" name="Freeform 49">
              <a:extLst>
                <a:ext uri="{FF2B5EF4-FFF2-40B4-BE49-F238E27FC236}">
                  <a16:creationId xmlns:a16="http://schemas.microsoft.com/office/drawing/2014/main" id="{D00962A5-E024-47FD-B64B-10990501D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3621" y="1751189"/>
              <a:ext cx="82835" cy="137470"/>
            </a:xfrm>
            <a:custGeom>
              <a:avLst/>
              <a:gdLst>
                <a:gd name="T0" fmla="*/ 47 w 47"/>
                <a:gd name="T1" fmla="*/ 0 h 78"/>
                <a:gd name="T2" fmla="*/ 0 w 47"/>
                <a:gd name="T3" fmla="*/ 78 h 78"/>
                <a:gd name="T4" fmla="*/ 1 w 47"/>
                <a:gd name="T5" fmla="*/ 78 h 78"/>
                <a:gd name="T6" fmla="*/ 47 w 47"/>
                <a:gd name="T7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78">
                  <a:moveTo>
                    <a:pt x="47" y="0"/>
                  </a:moveTo>
                  <a:lnTo>
                    <a:pt x="0" y="78"/>
                  </a:lnTo>
                  <a:lnTo>
                    <a:pt x="1" y="78"/>
                  </a:lnTo>
                  <a:lnTo>
                    <a:pt x="4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5" name="Freeform 73">
              <a:extLst>
                <a:ext uri="{FF2B5EF4-FFF2-40B4-BE49-F238E27FC236}">
                  <a16:creationId xmlns:a16="http://schemas.microsoft.com/office/drawing/2014/main" id="{A55CFE93-47A2-46B8-BE26-474D0317A7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07442" y="3897830"/>
              <a:ext cx="1607338" cy="2010935"/>
            </a:xfrm>
            <a:custGeom>
              <a:avLst/>
              <a:gdLst>
                <a:gd name="T0" fmla="*/ 4 w 912"/>
                <a:gd name="T1" fmla="*/ 1138 h 1141"/>
                <a:gd name="T2" fmla="*/ 0 w 912"/>
                <a:gd name="T3" fmla="*/ 1141 h 1141"/>
                <a:gd name="T4" fmla="*/ 1 w 912"/>
                <a:gd name="T5" fmla="*/ 1141 h 1141"/>
                <a:gd name="T6" fmla="*/ 4 w 912"/>
                <a:gd name="T7" fmla="*/ 1138 h 1141"/>
                <a:gd name="T8" fmla="*/ 588 w 912"/>
                <a:gd name="T9" fmla="*/ 570 h 1141"/>
                <a:gd name="T10" fmla="*/ 429 w 912"/>
                <a:gd name="T11" fmla="*/ 570 h 1141"/>
                <a:gd name="T12" fmla="*/ 429 w 912"/>
                <a:gd name="T13" fmla="*/ 570 h 1141"/>
                <a:gd name="T14" fmla="*/ 588 w 912"/>
                <a:gd name="T15" fmla="*/ 570 h 1141"/>
                <a:gd name="T16" fmla="*/ 588 w 912"/>
                <a:gd name="T17" fmla="*/ 570 h 1141"/>
                <a:gd name="T18" fmla="*/ 912 w 912"/>
                <a:gd name="T19" fmla="*/ 0 h 1141"/>
                <a:gd name="T20" fmla="*/ 760 w 912"/>
                <a:gd name="T21" fmla="*/ 0 h 1141"/>
                <a:gd name="T22" fmla="*/ 760 w 912"/>
                <a:gd name="T23" fmla="*/ 0 h 1141"/>
                <a:gd name="T24" fmla="*/ 912 w 912"/>
                <a:gd name="T25" fmla="*/ 0 h 1141"/>
                <a:gd name="T26" fmla="*/ 912 w 912"/>
                <a:gd name="T27" fmla="*/ 0 h 1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2" h="1141">
                  <a:moveTo>
                    <a:pt x="4" y="1138"/>
                  </a:moveTo>
                  <a:lnTo>
                    <a:pt x="0" y="1141"/>
                  </a:lnTo>
                  <a:lnTo>
                    <a:pt x="1" y="1141"/>
                  </a:lnTo>
                  <a:lnTo>
                    <a:pt x="4" y="1138"/>
                  </a:lnTo>
                  <a:close/>
                  <a:moveTo>
                    <a:pt x="588" y="570"/>
                  </a:moveTo>
                  <a:lnTo>
                    <a:pt x="429" y="570"/>
                  </a:lnTo>
                  <a:lnTo>
                    <a:pt x="429" y="570"/>
                  </a:lnTo>
                  <a:lnTo>
                    <a:pt x="588" y="570"/>
                  </a:lnTo>
                  <a:lnTo>
                    <a:pt x="588" y="570"/>
                  </a:lnTo>
                  <a:close/>
                  <a:moveTo>
                    <a:pt x="912" y="0"/>
                  </a:moveTo>
                  <a:lnTo>
                    <a:pt x="760" y="0"/>
                  </a:lnTo>
                  <a:lnTo>
                    <a:pt x="760" y="0"/>
                  </a:lnTo>
                  <a:lnTo>
                    <a:pt x="912" y="0"/>
                  </a:lnTo>
                  <a:lnTo>
                    <a:pt x="912" y="0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6" name="Freeform 74">
              <a:extLst>
                <a:ext uri="{FF2B5EF4-FFF2-40B4-BE49-F238E27FC236}">
                  <a16:creationId xmlns:a16="http://schemas.microsoft.com/office/drawing/2014/main" id="{BD5C7CB0-E0AD-4517-A4B8-49FEC8E830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07442" y="3897830"/>
              <a:ext cx="1607338" cy="2010935"/>
            </a:xfrm>
            <a:custGeom>
              <a:avLst/>
              <a:gdLst>
                <a:gd name="T0" fmla="*/ 4 w 912"/>
                <a:gd name="T1" fmla="*/ 1138 h 1141"/>
                <a:gd name="T2" fmla="*/ 0 w 912"/>
                <a:gd name="T3" fmla="*/ 1141 h 1141"/>
                <a:gd name="T4" fmla="*/ 1 w 912"/>
                <a:gd name="T5" fmla="*/ 1141 h 1141"/>
                <a:gd name="T6" fmla="*/ 4 w 912"/>
                <a:gd name="T7" fmla="*/ 1138 h 1141"/>
                <a:gd name="T8" fmla="*/ 588 w 912"/>
                <a:gd name="T9" fmla="*/ 570 h 1141"/>
                <a:gd name="T10" fmla="*/ 429 w 912"/>
                <a:gd name="T11" fmla="*/ 570 h 1141"/>
                <a:gd name="T12" fmla="*/ 429 w 912"/>
                <a:gd name="T13" fmla="*/ 570 h 1141"/>
                <a:gd name="T14" fmla="*/ 588 w 912"/>
                <a:gd name="T15" fmla="*/ 570 h 1141"/>
                <a:gd name="T16" fmla="*/ 588 w 912"/>
                <a:gd name="T17" fmla="*/ 570 h 1141"/>
                <a:gd name="T18" fmla="*/ 912 w 912"/>
                <a:gd name="T19" fmla="*/ 0 h 1141"/>
                <a:gd name="T20" fmla="*/ 760 w 912"/>
                <a:gd name="T21" fmla="*/ 0 h 1141"/>
                <a:gd name="T22" fmla="*/ 760 w 912"/>
                <a:gd name="T23" fmla="*/ 0 h 1141"/>
                <a:gd name="T24" fmla="*/ 912 w 912"/>
                <a:gd name="T25" fmla="*/ 0 h 1141"/>
                <a:gd name="T26" fmla="*/ 912 w 912"/>
                <a:gd name="T27" fmla="*/ 0 h 1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2" h="1141">
                  <a:moveTo>
                    <a:pt x="4" y="1138"/>
                  </a:moveTo>
                  <a:lnTo>
                    <a:pt x="0" y="1141"/>
                  </a:lnTo>
                  <a:lnTo>
                    <a:pt x="1" y="1141"/>
                  </a:lnTo>
                  <a:lnTo>
                    <a:pt x="4" y="1138"/>
                  </a:lnTo>
                  <a:moveTo>
                    <a:pt x="588" y="570"/>
                  </a:moveTo>
                  <a:lnTo>
                    <a:pt x="429" y="570"/>
                  </a:lnTo>
                  <a:lnTo>
                    <a:pt x="429" y="570"/>
                  </a:lnTo>
                  <a:lnTo>
                    <a:pt x="588" y="570"/>
                  </a:lnTo>
                  <a:lnTo>
                    <a:pt x="588" y="570"/>
                  </a:lnTo>
                  <a:moveTo>
                    <a:pt x="912" y="0"/>
                  </a:moveTo>
                  <a:lnTo>
                    <a:pt x="760" y="0"/>
                  </a:lnTo>
                  <a:lnTo>
                    <a:pt x="760" y="0"/>
                  </a:lnTo>
                  <a:lnTo>
                    <a:pt x="912" y="0"/>
                  </a:lnTo>
                  <a:lnTo>
                    <a:pt x="9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7" name="Freeform 76">
              <a:extLst>
                <a:ext uri="{FF2B5EF4-FFF2-40B4-BE49-F238E27FC236}">
                  <a16:creationId xmlns:a16="http://schemas.microsoft.com/office/drawing/2014/main" id="{81583C93-3AC0-444F-9754-302B85683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205" y="4902417"/>
              <a:ext cx="1034547" cy="1006350"/>
            </a:xfrm>
            <a:custGeom>
              <a:avLst/>
              <a:gdLst>
                <a:gd name="T0" fmla="*/ 587 w 587"/>
                <a:gd name="T1" fmla="*/ 0 h 571"/>
                <a:gd name="T2" fmla="*/ 428 w 587"/>
                <a:gd name="T3" fmla="*/ 0 h 571"/>
                <a:gd name="T4" fmla="*/ 210 w 587"/>
                <a:gd name="T5" fmla="*/ 378 h 571"/>
                <a:gd name="T6" fmla="*/ 208 w 587"/>
                <a:gd name="T7" fmla="*/ 378 h 571"/>
                <a:gd name="T8" fmla="*/ 3 w 587"/>
                <a:gd name="T9" fmla="*/ 568 h 571"/>
                <a:gd name="T10" fmla="*/ 0 w 587"/>
                <a:gd name="T11" fmla="*/ 571 h 571"/>
                <a:gd name="T12" fmla="*/ 263 w 587"/>
                <a:gd name="T13" fmla="*/ 571 h 571"/>
                <a:gd name="T14" fmla="*/ 587 w 587"/>
                <a:gd name="T15" fmla="*/ 0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7" h="571">
                  <a:moveTo>
                    <a:pt x="587" y="0"/>
                  </a:moveTo>
                  <a:lnTo>
                    <a:pt x="428" y="0"/>
                  </a:lnTo>
                  <a:lnTo>
                    <a:pt x="210" y="378"/>
                  </a:lnTo>
                  <a:lnTo>
                    <a:pt x="208" y="378"/>
                  </a:lnTo>
                  <a:lnTo>
                    <a:pt x="3" y="568"/>
                  </a:lnTo>
                  <a:lnTo>
                    <a:pt x="0" y="571"/>
                  </a:lnTo>
                  <a:lnTo>
                    <a:pt x="263" y="571"/>
                  </a:lnTo>
                  <a:lnTo>
                    <a:pt x="58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2" name="Freeform 88">
              <a:extLst>
                <a:ext uri="{FF2B5EF4-FFF2-40B4-BE49-F238E27FC236}">
                  <a16:creationId xmlns:a16="http://schemas.microsoft.com/office/drawing/2014/main" id="{C3253795-F657-43C0-95C2-1F4C302DE6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9127" y="3562606"/>
              <a:ext cx="586890" cy="1004586"/>
            </a:xfrm>
            <a:custGeom>
              <a:avLst/>
              <a:gdLst>
                <a:gd name="T0" fmla="*/ 333 w 333"/>
                <a:gd name="T1" fmla="*/ 0 h 570"/>
                <a:gd name="T2" fmla="*/ 332 w 333"/>
                <a:gd name="T3" fmla="*/ 0 h 570"/>
                <a:gd name="T4" fmla="*/ 0 w 333"/>
                <a:gd name="T5" fmla="*/ 570 h 570"/>
                <a:gd name="T6" fmla="*/ 2 w 333"/>
                <a:gd name="T7" fmla="*/ 570 h 570"/>
                <a:gd name="T8" fmla="*/ 221 w 333"/>
                <a:gd name="T9" fmla="*/ 193 h 570"/>
                <a:gd name="T10" fmla="*/ 221 w 333"/>
                <a:gd name="T11" fmla="*/ 193 h 570"/>
                <a:gd name="T12" fmla="*/ 221 w 333"/>
                <a:gd name="T13" fmla="*/ 193 h 570"/>
                <a:gd name="T14" fmla="*/ 227 w 333"/>
                <a:gd name="T15" fmla="*/ 183 h 570"/>
                <a:gd name="T16" fmla="*/ 333 w 333"/>
                <a:gd name="T17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3" h="570">
                  <a:moveTo>
                    <a:pt x="333" y="0"/>
                  </a:moveTo>
                  <a:lnTo>
                    <a:pt x="332" y="0"/>
                  </a:lnTo>
                  <a:lnTo>
                    <a:pt x="0" y="570"/>
                  </a:lnTo>
                  <a:lnTo>
                    <a:pt x="2" y="570"/>
                  </a:lnTo>
                  <a:lnTo>
                    <a:pt x="221" y="193"/>
                  </a:lnTo>
                  <a:lnTo>
                    <a:pt x="221" y="193"/>
                  </a:lnTo>
                  <a:lnTo>
                    <a:pt x="221" y="193"/>
                  </a:lnTo>
                  <a:lnTo>
                    <a:pt x="227" y="183"/>
                  </a:lnTo>
                  <a:lnTo>
                    <a:pt x="33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4" name="Freeform 90">
              <a:extLst>
                <a:ext uri="{FF2B5EF4-FFF2-40B4-BE49-F238E27FC236}">
                  <a16:creationId xmlns:a16="http://schemas.microsoft.com/office/drawing/2014/main" id="{353FC40C-B767-4A4A-AF41-7CF8639BC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9178" y="4645941"/>
              <a:ext cx="585128" cy="1006350"/>
            </a:xfrm>
            <a:custGeom>
              <a:avLst/>
              <a:gdLst>
                <a:gd name="T0" fmla="*/ 332 w 332"/>
                <a:gd name="T1" fmla="*/ 0 h 571"/>
                <a:gd name="T2" fmla="*/ 332 w 332"/>
                <a:gd name="T3" fmla="*/ 0 h 571"/>
                <a:gd name="T4" fmla="*/ 330 w 332"/>
                <a:gd name="T5" fmla="*/ 0 h 571"/>
                <a:gd name="T6" fmla="*/ 0 w 332"/>
                <a:gd name="T7" fmla="*/ 571 h 571"/>
                <a:gd name="T8" fmla="*/ 2 w 332"/>
                <a:gd name="T9" fmla="*/ 571 h 571"/>
                <a:gd name="T10" fmla="*/ 220 w 332"/>
                <a:gd name="T11" fmla="*/ 193 h 571"/>
                <a:gd name="T12" fmla="*/ 220 w 332"/>
                <a:gd name="T13" fmla="*/ 193 h 571"/>
                <a:gd name="T14" fmla="*/ 332 w 332"/>
                <a:gd name="T15" fmla="*/ 0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2" h="571">
                  <a:moveTo>
                    <a:pt x="332" y="0"/>
                  </a:moveTo>
                  <a:lnTo>
                    <a:pt x="332" y="0"/>
                  </a:lnTo>
                  <a:lnTo>
                    <a:pt x="330" y="0"/>
                  </a:lnTo>
                  <a:lnTo>
                    <a:pt x="0" y="571"/>
                  </a:lnTo>
                  <a:lnTo>
                    <a:pt x="2" y="571"/>
                  </a:lnTo>
                  <a:lnTo>
                    <a:pt x="220" y="193"/>
                  </a:lnTo>
                  <a:lnTo>
                    <a:pt x="220" y="193"/>
                  </a:lnTo>
                  <a:lnTo>
                    <a:pt x="33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9" name="Freeform 95">
              <a:extLst>
                <a:ext uri="{FF2B5EF4-FFF2-40B4-BE49-F238E27FC236}">
                  <a16:creationId xmlns:a16="http://schemas.microsoft.com/office/drawing/2014/main" id="{69DA3213-5B42-436B-ACA5-50A7AD3313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205" y="5568616"/>
              <a:ext cx="370111" cy="340150"/>
            </a:xfrm>
            <a:custGeom>
              <a:avLst/>
              <a:gdLst>
                <a:gd name="T0" fmla="*/ 210 w 210"/>
                <a:gd name="T1" fmla="*/ 0 h 193"/>
                <a:gd name="T2" fmla="*/ 0 w 210"/>
                <a:gd name="T3" fmla="*/ 193 h 193"/>
                <a:gd name="T4" fmla="*/ 112 w 210"/>
                <a:gd name="T5" fmla="*/ 0 h 193"/>
                <a:gd name="T6" fmla="*/ 210 w 210"/>
                <a:gd name="T7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0" h="193">
                  <a:moveTo>
                    <a:pt x="210" y="0"/>
                  </a:moveTo>
                  <a:lnTo>
                    <a:pt x="0" y="193"/>
                  </a:lnTo>
                  <a:lnTo>
                    <a:pt x="112" y="0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rgbClr val="4D606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0" name="Rectangle 96">
              <a:extLst>
                <a:ext uri="{FF2B5EF4-FFF2-40B4-BE49-F238E27FC236}">
                  <a16:creationId xmlns:a16="http://schemas.microsoft.com/office/drawing/2014/main" id="{844DDEFE-8D78-4101-BF8D-1EB0893DA4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50002" y="5908764"/>
              <a:ext cx="874166" cy="1764"/>
            </a:xfrm>
            <a:prstGeom prst="rect">
              <a:avLst/>
            </a:pr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1" name="Freeform 97">
              <a:extLst>
                <a:ext uri="{FF2B5EF4-FFF2-40B4-BE49-F238E27FC236}">
                  <a16:creationId xmlns:a16="http://schemas.microsoft.com/office/drawing/2014/main" id="{D65C0AA7-15B2-4AC2-9D74-558E8A890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0002" y="5908764"/>
              <a:ext cx="874166" cy="0"/>
            </a:xfrm>
            <a:custGeom>
              <a:avLst/>
              <a:gdLst>
                <a:gd name="T0" fmla="*/ 496 w 496"/>
                <a:gd name="T1" fmla="*/ 0 w 496"/>
                <a:gd name="T2" fmla="*/ 0 w 496"/>
                <a:gd name="T3" fmla="*/ 496 w 49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496">
                  <a:moveTo>
                    <a:pt x="49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49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2" name="Oval 107">
              <a:extLst>
                <a:ext uri="{FF2B5EF4-FFF2-40B4-BE49-F238E27FC236}">
                  <a16:creationId xmlns:a16="http://schemas.microsoft.com/office/drawing/2014/main" id="{7EDDF23B-00ED-4B12-9F2E-39C9E8E2DA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23639" y="4902417"/>
              <a:ext cx="1004586" cy="1006350"/>
            </a:xfrm>
            <a:prstGeom prst="ellipse">
              <a:avLst/>
            </a:prstGeom>
            <a:solidFill>
              <a:sysClr val="window" lastClr="FFFFFF">
                <a:lumMod val="8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3" name="Oval 108">
              <a:extLst>
                <a:ext uri="{FF2B5EF4-FFF2-40B4-BE49-F238E27FC236}">
                  <a16:creationId xmlns:a16="http://schemas.microsoft.com/office/drawing/2014/main" id="{5D7E0341-A5C2-4AB8-9893-53951B453C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23639" y="1888658"/>
              <a:ext cx="1004586" cy="1006350"/>
            </a:xfrm>
            <a:prstGeom prst="ellipse">
              <a:avLst/>
            </a:prstGeom>
            <a:solidFill>
              <a:sysClr val="window" lastClr="FFFFFF">
                <a:lumMod val="8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4" name="Oval 109">
              <a:extLst>
                <a:ext uri="{FF2B5EF4-FFF2-40B4-BE49-F238E27FC236}">
                  <a16:creationId xmlns:a16="http://schemas.microsoft.com/office/drawing/2014/main" id="{D4E4358F-7BBD-43E7-8B8E-1A4AE399E0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23639" y="2895007"/>
              <a:ext cx="1004586" cy="1002824"/>
            </a:xfrm>
            <a:prstGeom prst="ellipse">
              <a:avLst/>
            </a:prstGeom>
            <a:solidFill>
              <a:sysClr val="window" lastClr="FFFFFF">
                <a:lumMod val="8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5" name="Oval 110">
              <a:extLst>
                <a:ext uri="{FF2B5EF4-FFF2-40B4-BE49-F238E27FC236}">
                  <a16:creationId xmlns:a16="http://schemas.microsoft.com/office/drawing/2014/main" id="{5FF457E7-90CE-43E0-B21C-37EDB73483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23639" y="3897831"/>
              <a:ext cx="1004586" cy="1004586"/>
            </a:xfrm>
            <a:prstGeom prst="ellipse">
              <a:avLst/>
            </a:prstGeom>
            <a:solidFill>
              <a:sysClr val="window" lastClr="FFFFFF">
                <a:lumMod val="8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6" name="Oval 108">
              <a:extLst>
                <a:ext uri="{FF2B5EF4-FFF2-40B4-BE49-F238E27FC236}">
                  <a16:creationId xmlns:a16="http://schemas.microsoft.com/office/drawing/2014/main" id="{89FD28AF-1F7E-4F54-872B-2E51916970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06329" y="1971493"/>
              <a:ext cx="839204" cy="840679"/>
            </a:xfrm>
            <a:prstGeom prst="ellipse">
              <a:avLst/>
            </a:prstGeom>
            <a:solidFill>
              <a:sysClr val="window" lastClr="FFFFFF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7" name="Oval 108">
              <a:extLst>
                <a:ext uri="{FF2B5EF4-FFF2-40B4-BE49-F238E27FC236}">
                  <a16:creationId xmlns:a16="http://schemas.microsoft.com/office/drawing/2014/main" id="{4605DB6D-D78A-444D-90AD-68CC8BA19C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06329" y="2977842"/>
              <a:ext cx="839204" cy="840679"/>
            </a:xfrm>
            <a:prstGeom prst="ellipse">
              <a:avLst/>
            </a:prstGeom>
            <a:solidFill>
              <a:sysClr val="window" lastClr="FFFFFF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8" name="Oval 108">
              <a:extLst>
                <a:ext uri="{FF2B5EF4-FFF2-40B4-BE49-F238E27FC236}">
                  <a16:creationId xmlns:a16="http://schemas.microsoft.com/office/drawing/2014/main" id="{EC25D168-DAFF-45A7-9C51-43338AA82E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06329" y="3974498"/>
              <a:ext cx="839204" cy="840679"/>
            </a:xfrm>
            <a:prstGeom prst="ellipse">
              <a:avLst/>
            </a:prstGeom>
            <a:solidFill>
              <a:sysClr val="window" lastClr="FFFFFF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9" name="Oval 108">
              <a:extLst>
                <a:ext uri="{FF2B5EF4-FFF2-40B4-BE49-F238E27FC236}">
                  <a16:creationId xmlns:a16="http://schemas.microsoft.com/office/drawing/2014/main" id="{7ED849EF-F0DE-4273-A7AE-F73FDDEC3C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06329" y="4979083"/>
              <a:ext cx="839204" cy="840679"/>
            </a:xfrm>
            <a:prstGeom prst="ellipse">
              <a:avLst/>
            </a:prstGeom>
            <a:solidFill>
              <a:sysClr val="window" lastClr="FFFFFF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D58FD9B8-02F3-4E57-A4E8-B3E65D7F815D}"/>
                </a:ext>
              </a:extLst>
            </p:cNvPr>
            <p:cNvSpPr/>
            <p:nvPr/>
          </p:nvSpPr>
          <p:spPr>
            <a:xfrm>
              <a:off x="1044629" y="1974572"/>
              <a:ext cx="1663411" cy="830997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0" marR="0" lvl="0" indent="0" algn="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Lorem ipsum </a:t>
              </a:r>
              <a:r>
                <a:rPr kumimoji="0" lang="en-IN" alt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dolor</a:t>
              </a: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 sit amet, </a:t>
              </a:r>
              <a:r>
                <a:rPr kumimoji="0" lang="en-IN" alt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movet</a:t>
              </a: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 </a:t>
              </a:r>
              <a:r>
                <a:rPr kumimoji="0" lang="en-IN" alt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invidunt</a:t>
              </a: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 </a:t>
              </a:r>
              <a:r>
                <a:rPr kumimoji="0" lang="en-IN" alt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legendos</a:t>
              </a: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 </a:t>
              </a:r>
              <a:r>
                <a:rPr kumimoji="0" lang="en-IN" alt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eos</a:t>
              </a: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 cu. </a:t>
              </a:r>
              <a:endPara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09F59C98-7341-4C44-ADA5-B1B699CBF796}"/>
                </a:ext>
              </a:extLst>
            </p:cNvPr>
            <p:cNvSpPr/>
            <p:nvPr/>
          </p:nvSpPr>
          <p:spPr>
            <a:xfrm>
              <a:off x="1044629" y="2980921"/>
              <a:ext cx="1663411" cy="830997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0" marR="0" lvl="0" indent="0" algn="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Lorem ipsum </a:t>
              </a:r>
              <a:r>
                <a:rPr kumimoji="0" lang="en-IN" alt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dolor</a:t>
              </a: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 sit amet, </a:t>
              </a:r>
              <a:r>
                <a:rPr kumimoji="0" lang="en-IN" alt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movet</a:t>
              </a: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 </a:t>
              </a:r>
              <a:r>
                <a:rPr kumimoji="0" lang="en-IN" alt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invidunt</a:t>
              </a: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 </a:t>
              </a:r>
              <a:r>
                <a:rPr kumimoji="0" lang="en-IN" alt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legendos</a:t>
              </a: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 </a:t>
              </a:r>
              <a:r>
                <a:rPr kumimoji="0" lang="en-IN" alt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eos</a:t>
              </a: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 cu. </a:t>
              </a:r>
              <a:endPara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EE375D9C-7702-4F29-AEF2-7F7CD3A3687D}"/>
                </a:ext>
              </a:extLst>
            </p:cNvPr>
            <p:cNvSpPr/>
            <p:nvPr/>
          </p:nvSpPr>
          <p:spPr>
            <a:xfrm>
              <a:off x="1044629" y="3996963"/>
              <a:ext cx="1663411" cy="830997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0" marR="0" lvl="0" indent="0" algn="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Lorem ipsum </a:t>
              </a:r>
              <a:r>
                <a:rPr kumimoji="0" lang="en-IN" alt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dolor</a:t>
              </a: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 sit amet, </a:t>
              </a:r>
              <a:r>
                <a:rPr kumimoji="0" lang="en-IN" alt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movet</a:t>
              </a: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 </a:t>
              </a:r>
              <a:r>
                <a:rPr kumimoji="0" lang="en-IN" alt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invidunt</a:t>
              </a: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 </a:t>
              </a:r>
              <a:r>
                <a:rPr kumimoji="0" lang="en-IN" alt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legendos</a:t>
              </a: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 </a:t>
              </a:r>
              <a:r>
                <a:rPr kumimoji="0" lang="en-IN" alt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eos</a:t>
              </a: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 cu. </a:t>
              </a:r>
              <a:endPara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8AE94A36-881C-4D90-A86C-ABA060750999}"/>
                </a:ext>
              </a:extLst>
            </p:cNvPr>
            <p:cNvSpPr/>
            <p:nvPr/>
          </p:nvSpPr>
          <p:spPr>
            <a:xfrm>
              <a:off x="1044629" y="4978383"/>
              <a:ext cx="1663411" cy="830997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0" marR="0" lvl="0" indent="0" algn="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Lorem ipsum </a:t>
              </a:r>
              <a:r>
                <a:rPr kumimoji="0" lang="en-IN" alt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dolor</a:t>
              </a: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 sit amet, </a:t>
              </a:r>
              <a:r>
                <a:rPr kumimoji="0" lang="en-IN" alt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movet</a:t>
              </a: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 </a:t>
              </a:r>
              <a:r>
                <a:rPr kumimoji="0" lang="en-IN" alt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invidunt</a:t>
              </a: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 </a:t>
              </a:r>
              <a:r>
                <a:rPr kumimoji="0" lang="en-IN" alt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legendos</a:t>
              </a: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 </a:t>
              </a:r>
              <a:r>
                <a:rPr kumimoji="0" lang="en-IN" alt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eos</a:t>
              </a:r>
              <a:r>
                <a:rPr kumimoji="0" lang="en-IN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2F2F2">
                      <a:lumMod val="1000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 cu. </a:t>
              </a:r>
              <a:endPara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732D4A0C-A10F-4052-A188-2E3C46A4F5FE}"/>
                </a:ext>
              </a:extLst>
            </p:cNvPr>
            <p:cNvSpPr/>
            <p:nvPr/>
          </p:nvSpPr>
          <p:spPr>
            <a:xfrm>
              <a:off x="4325345" y="1726759"/>
              <a:ext cx="892904" cy="64633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01</a:t>
              </a: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22F24784-44E7-4A60-8480-DFA9E79824C9}"/>
                </a:ext>
              </a:extLst>
            </p:cNvPr>
            <p:cNvSpPr/>
            <p:nvPr/>
          </p:nvSpPr>
          <p:spPr>
            <a:xfrm>
              <a:off x="4325345" y="2731344"/>
              <a:ext cx="892904" cy="64633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02</a:t>
              </a:r>
            </a:p>
          </p:txBody>
        </p: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2F539E44-FD2B-42FC-91D2-A5CB0D89B647}"/>
                </a:ext>
              </a:extLst>
            </p:cNvPr>
            <p:cNvSpPr/>
            <p:nvPr/>
          </p:nvSpPr>
          <p:spPr>
            <a:xfrm>
              <a:off x="4325345" y="3757076"/>
              <a:ext cx="892904" cy="64633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03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62D3B223-CB19-4176-8D8F-1C67F0DA3578}"/>
                </a:ext>
              </a:extLst>
            </p:cNvPr>
            <p:cNvSpPr/>
            <p:nvPr/>
          </p:nvSpPr>
          <p:spPr>
            <a:xfrm>
              <a:off x="4325345" y="4721127"/>
              <a:ext cx="892904" cy="64633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04</a:t>
              </a: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B00ECDDD-1656-4F17-9DD7-6D7435F5591C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6920635" y="1974572"/>
              <a:ext cx="1999502" cy="83099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Lorem Ipsum is simply dummy text of the printing and typesetting industry. </a:t>
              </a:r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7834BB94-8CA2-41FF-8718-AE3B1E98E4F3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6920635" y="2980921"/>
              <a:ext cx="1999502" cy="83099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Lorem Ipsum is simply dummy text of the printing and typesetting industry. </a:t>
              </a:r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610650C1-5F49-4301-8DAC-8A49F6E009F9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6920635" y="3996963"/>
              <a:ext cx="1999502" cy="83099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Lorem Ipsum is simply dummy text of the printing and typesetting industry. </a:t>
              </a:r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24DBCE64-442B-4F9A-91BE-244EECAE97E9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6920635" y="4978383"/>
              <a:ext cx="1999502" cy="83099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Lorem Ipsum is simply dummy text of the printing and typesetting industry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237651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50B35F0-7042-4454-B55A-E45AD0CA714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IN"/>
              <a:t>Your headline will go here</a:t>
            </a:r>
          </a:p>
          <a:p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84E877B-3B52-412A-8C33-809FD5056C74}"/>
              </a:ext>
            </a:extLst>
          </p:cNvPr>
          <p:cNvSpPr/>
          <p:nvPr/>
        </p:nvSpPr>
        <p:spPr>
          <a:xfrm>
            <a:off x="0" y="6232849"/>
            <a:ext cx="12192000" cy="62515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2F2F2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27" name="Freeform 5">
            <a:extLst>
              <a:ext uri="{FF2B5EF4-FFF2-40B4-BE49-F238E27FC236}">
                <a16:creationId xmlns:a16="http://schemas.microsoft.com/office/drawing/2014/main" id="{A0E6092E-B2CB-496A-B829-B24FDDE6988C}"/>
              </a:ext>
            </a:extLst>
          </p:cNvPr>
          <p:cNvSpPr>
            <a:spLocks/>
          </p:cNvSpPr>
          <p:nvPr/>
        </p:nvSpPr>
        <p:spPr bwMode="auto">
          <a:xfrm>
            <a:off x="859334" y="5374820"/>
            <a:ext cx="487046" cy="858029"/>
          </a:xfrm>
          <a:custGeom>
            <a:avLst/>
            <a:gdLst>
              <a:gd name="T0" fmla="*/ 442 w 466"/>
              <a:gd name="T1" fmla="*/ 108 h 820"/>
              <a:gd name="T2" fmla="*/ 336 w 466"/>
              <a:gd name="T3" fmla="*/ 129 h 820"/>
              <a:gd name="T4" fmla="*/ 286 w 466"/>
              <a:gd name="T5" fmla="*/ 160 h 820"/>
              <a:gd name="T6" fmla="*/ 252 w 466"/>
              <a:gd name="T7" fmla="*/ 201 h 820"/>
              <a:gd name="T8" fmla="*/ 217 w 466"/>
              <a:gd name="T9" fmla="*/ 268 h 820"/>
              <a:gd name="T10" fmla="*/ 212 w 466"/>
              <a:gd name="T11" fmla="*/ 232 h 820"/>
              <a:gd name="T12" fmla="*/ 243 w 466"/>
              <a:gd name="T13" fmla="*/ 149 h 820"/>
              <a:gd name="T14" fmla="*/ 283 w 466"/>
              <a:gd name="T15" fmla="*/ 93 h 820"/>
              <a:gd name="T16" fmla="*/ 318 w 466"/>
              <a:gd name="T17" fmla="*/ 25 h 820"/>
              <a:gd name="T18" fmla="*/ 317 w 466"/>
              <a:gd name="T19" fmla="*/ 11 h 820"/>
              <a:gd name="T20" fmla="*/ 290 w 466"/>
              <a:gd name="T21" fmla="*/ 1 h 820"/>
              <a:gd name="T22" fmla="*/ 261 w 466"/>
              <a:gd name="T23" fmla="*/ 13 h 820"/>
              <a:gd name="T24" fmla="*/ 211 w 466"/>
              <a:gd name="T25" fmla="*/ 36 h 820"/>
              <a:gd name="T26" fmla="*/ 184 w 466"/>
              <a:gd name="T27" fmla="*/ 74 h 820"/>
              <a:gd name="T28" fmla="*/ 161 w 466"/>
              <a:gd name="T29" fmla="*/ 109 h 820"/>
              <a:gd name="T30" fmla="*/ 189 w 466"/>
              <a:gd name="T31" fmla="*/ 201 h 820"/>
              <a:gd name="T32" fmla="*/ 167 w 466"/>
              <a:gd name="T33" fmla="*/ 214 h 820"/>
              <a:gd name="T34" fmla="*/ 92 w 466"/>
              <a:gd name="T35" fmla="*/ 224 h 820"/>
              <a:gd name="T36" fmla="*/ 64 w 466"/>
              <a:gd name="T37" fmla="*/ 279 h 820"/>
              <a:gd name="T38" fmla="*/ 59 w 466"/>
              <a:gd name="T39" fmla="*/ 328 h 820"/>
              <a:gd name="T40" fmla="*/ 98 w 466"/>
              <a:gd name="T41" fmla="*/ 366 h 820"/>
              <a:gd name="T42" fmla="*/ 115 w 466"/>
              <a:gd name="T43" fmla="*/ 352 h 820"/>
              <a:gd name="T44" fmla="*/ 119 w 466"/>
              <a:gd name="T45" fmla="*/ 304 h 820"/>
              <a:gd name="T46" fmla="*/ 138 w 466"/>
              <a:gd name="T47" fmla="*/ 294 h 820"/>
              <a:gd name="T48" fmla="*/ 150 w 466"/>
              <a:gd name="T49" fmla="*/ 251 h 820"/>
              <a:gd name="T50" fmla="*/ 187 w 466"/>
              <a:gd name="T51" fmla="*/ 234 h 820"/>
              <a:gd name="T52" fmla="*/ 208 w 466"/>
              <a:gd name="T53" fmla="*/ 464 h 820"/>
              <a:gd name="T54" fmla="*/ 207 w 466"/>
              <a:gd name="T55" fmla="*/ 482 h 820"/>
              <a:gd name="T56" fmla="*/ 158 w 466"/>
              <a:gd name="T57" fmla="*/ 461 h 820"/>
              <a:gd name="T58" fmla="*/ 58 w 466"/>
              <a:gd name="T59" fmla="*/ 469 h 820"/>
              <a:gd name="T60" fmla="*/ 1 w 466"/>
              <a:gd name="T61" fmla="*/ 519 h 820"/>
              <a:gd name="T62" fmla="*/ 70 w 466"/>
              <a:gd name="T63" fmla="*/ 492 h 820"/>
              <a:gd name="T64" fmla="*/ 129 w 466"/>
              <a:gd name="T65" fmla="*/ 474 h 820"/>
              <a:gd name="T66" fmla="*/ 197 w 466"/>
              <a:gd name="T67" fmla="*/ 494 h 820"/>
              <a:gd name="T68" fmla="*/ 210 w 466"/>
              <a:gd name="T69" fmla="*/ 718 h 820"/>
              <a:gd name="T70" fmla="*/ 202 w 466"/>
              <a:gd name="T71" fmla="*/ 750 h 820"/>
              <a:gd name="T72" fmla="*/ 194 w 466"/>
              <a:gd name="T73" fmla="*/ 780 h 820"/>
              <a:gd name="T74" fmla="*/ 176 w 466"/>
              <a:gd name="T75" fmla="*/ 805 h 820"/>
              <a:gd name="T76" fmla="*/ 264 w 466"/>
              <a:gd name="T77" fmla="*/ 811 h 820"/>
              <a:gd name="T78" fmla="*/ 250 w 466"/>
              <a:gd name="T79" fmla="*/ 795 h 820"/>
              <a:gd name="T80" fmla="*/ 232 w 466"/>
              <a:gd name="T81" fmla="*/ 803 h 820"/>
              <a:gd name="T82" fmla="*/ 221 w 466"/>
              <a:gd name="T83" fmla="*/ 727 h 820"/>
              <a:gd name="T84" fmla="*/ 217 w 466"/>
              <a:gd name="T85" fmla="*/ 538 h 820"/>
              <a:gd name="T86" fmla="*/ 231 w 466"/>
              <a:gd name="T87" fmla="*/ 487 h 820"/>
              <a:gd name="T88" fmla="*/ 321 w 466"/>
              <a:gd name="T89" fmla="*/ 527 h 820"/>
              <a:gd name="T90" fmla="*/ 403 w 466"/>
              <a:gd name="T91" fmla="*/ 508 h 820"/>
              <a:gd name="T92" fmla="*/ 390 w 466"/>
              <a:gd name="T93" fmla="*/ 463 h 820"/>
              <a:gd name="T94" fmla="*/ 347 w 466"/>
              <a:gd name="T95" fmla="*/ 419 h 820"/>
              <a:gd name="T96" fmla="*/ 241 w 466"/>
              <a:gd name="T97" fmla="*/ 460 h 820"/>
              <a:gd name="T98" fmla="*/ 217 w 466"/>
              <a:gd name="T99" fmla="*/ 344 h 820"/>
              <a:gd name="T100" fmla="*/ 267 w 466"/>
              <a:gd name="T101" fmla="*/ 240 h 820"/>
              <a:gd name="T102" fmla="*/ 369 w 466"/>
              <a:gd name="T103" fmla="*/ 178 h 820"/>
              <a:gd name="T104" fmla="*/ 447 w 466"/>
              <a:gd name="T105" fmla="*/ 134 h 820"/>
              <a:gd name="T106" fmla="*/ 466 w 466"/>
              <a:gd name="T107" fmla="*/ 116 h 8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66" h="820">
                <a:moveTo>
                  <a:pt x="464" y="114"/>
                </a:moveTo>
                <a:cubicBezTo>
                  <a:pt x="460" y="113"/>
                  <a:pt x="456" y="111"/>
                  <a:pt x="451" y="111"/>
                </a:cubicBezTo>
                <a:cubicBezTo>
                  <a:pt x="450" y="111"/>
                  <a:pt x="448" y="112"/>
                  <a:pt x="449" y="109"/>
                </a:cubicBezTo>
                <a:cubicBezTo>
                  <a:pt x="449" y="107"/>
                  <a:pt x="448" y="107"/>
                  <a:pt x="446" y="107"/>
                </a:cubicBezTo>
                <a:cubicBezTo>
                  <a:pt x="445" y="108"/>
                  <a:pt x="443" y="108"/>
                  <a:pt x="442" y="108"/>
                </a:cubicBezTo>
                <a:cubicBezTo>
                  <a:pt x="425" y="111"/>
                  <a:pt x="409" y="113"/>
                  <a:pt x="392" y="113"/>
                </a:cubicBezTo>
                <a:cubicBezTo>
                  <a:pt x="388" y="113"/>
                  <a:pt x="384" y="114"/>
                  <a:pt x="380" y="116"/>
                </a:cubicBezTo>
                <a:cubicBezTo>
                  <a:pt x="375" y="118"/>
                  <a:pt x="371" y="119"/>
                  <a:pt x="366" y="120"/>
                </a:cubicBezTo>
                <a:cubicBezTo>
                  <a:pt x="357" y="121"/>
                  <a:pt x="349" y="123"/>
                  <a:pt x="342" y="129"/>
                </a:cubicBezTo>
                <a:cubicBezTo>
                  <a:pt x="340" y="130"/>
                  <a:pt x="338" y="130"/>
                  <a:pt x="336" y="129"/>
                </a:cubicBezTo>
                <a:cubicBezTo>
                  <a:pt x="328" y="127"/>
                  <a:pt x="322" y="128"/>
                  <a:pt x="318" y="135"/>
                </a:cubicBezTo>
                <a:cubicBezTo>
                  <a:pt x="314" y="139"/>
                  <a:pt x="310" y="144"/>
                  <a:pt x="312" y="150"/>
                </a:cubicBezTo>
                <a:cubicBezTo>
                  <a:pt x="313" y="153"/>
                  <a:pt x="311" y="155"/>
                  <a:pt x="308" y="153"/>
                </a:cubicBezTo>
                <a:cubicBezTo>
                  <a:pt x="304" y="151"/>
                  <a:pt x="299" y="152"/>
                  <a:pt x="296" y="154"/>
                </a:cubicBezTo>
                <a:cubicBezTo>
                  <a:pt x="293" y="157"/>
                  <a:pt x="290" y="159"/>
                  <a:pt x="286" y="160"/>
                </a:cubicBezTo>
                <a:cubicBezTo>
                  <a:pt x="283" y="162"/>
                  <a:pt x="281" y="164"/>
                  <a:pt x="280" y="168"/>
                </a:cubicBezTo>
                <a:cubicBezTo>
                  <a:pt x="279" y="173"/>
                  <a:pt x="277" y="176"/>
                  <a:pt x="272" y="177"/>
                </a:cubicBezTo>
                <a:cubicBezTo>
                  <a:pt x="271" y="177"/>
                  <a:pt x="270" y="179"/>
                  <a:pt x="270" y="179"/>
                </a:cubicBezTo>
                <a:cubicBezTo>
                  <a:pt x="267" y="183"/>
                  <a:pt x="264" y="186"/>
                  <a:pt x="261" y="189"/>
                </a:cubicBezTo>
                <a:cubicBezTo>
                  <a:pt x="257" y="193"/>
                  <a:pt x="254" y="196"/>
                  <a:pt x="252" y="201"/>
                </a:cubicBezTo>
                <a:cubicBezTo>
                  <a:pt x="250" y="205"/>
                  <a:pt x="249" y="210"/>
                  <a:pt x="248" y="216"/>
                </a:cubicBezTo>
                <a:cubicBezTo>
                  <a:pt x="247" y="219"/>
                  <a:pt x="245" y="223"/>
                  <a:pt x="241" y="225"/>
                </a:cubicBezTo>
                <a:cubicBezTo>
                  <a:pt x="238" y="226"/>
                  <a:pt x="236" y="229"/>
                  <a:pt x="235" y="232"/>
                </a:cubicBezTo>
                <a:cubicBezTo>
                  <a:pt x="232" y="237"/>
                  <a:pt x="228" y="243"/>
                  <a:pt x="225" y="248"/>
                </a:cubicBezTo>
                <a:cubicBezTo>
                  <a:pt x="222" y="255"/>
                  <a:pt x="220" y="262"/>
                  <a:pt x="217" y="268"/>
                </a:cubicBezTo>
                <a:cubicBezTo>
                  <a:pt x="217" y="270"/>
                  <a:pt x="217" y="271"/>
                  <a:pt x="215" y="271"/>
                </a:cubicBezTo>
                <a:cubicBezTo>
                  <a:pt x="214" y="271"/>
                  <a:pt x="214" y="269"/>
                  <a:pt x="214" y="268"/>
                </a:cubicBezTo>
                <a:cubicBezTo>
                  <a:pt x="214" y="262"/>
                  <a:pt x="214" y="255"/>
                  <a:pt x="211" y="249"/>
                </a:cubicBezTo>
                <a:cubicBezTo>
                  <a:pt x="211" y="248"/>
                  <a:pt x="211" y="248"/>
                  <a:pt x="211" y="247"/>
                </a:cubicBezTo>
                <a:cubicBezTo>
                  <a:pt x="213" y="242"/>
                  <a:pt x="213" y="237"/>
                  <a:pt x="212" y="232"/>
                </a:cubicBezTo>
                <a:cubicBezTo>
                  <a:pt x="212" y="230"/>
                  <a:pt x="213" y="227"/>
                  <a:pt x="214" y="225"/>
                </a:cubicBezTo>
                <a:cubicBezTo>
                  <a:pt x="216" y="223"/>
                  <a:pt x="217" y="221"/>
                  <a:pt x="217" y="218"/>
                </a:cubicBezTo>
                <a:cubicBezTo>
                  <a:pt x="218" y="214"/>
                  <a:pt x="220" y="210"/>
                  <a:pt x="221" y="206"/>
                </a:cubicBezTo>
                <a:cubicBezTo>
                  <a:pt x="225" y="195"/>
                  <a:pt x="227" y="183"/>
                  <a:pt x="228" y="172"/>
                </a:cubicBezTo>
                <a:cubicBezTo>
                  <a:pt x="229" y="161"/>
                  <a:pt x="234" y="154"/>
                  <a:pt x="243" y="149"/>
                </a:cubicBezTo>
                <a:cubicBezTo>
                  <a:pt x="251" y="146"/>
                  <a:pt x="258" y="142"/>
                  <a:pt x="263" y="134"/>
                </a:cubicBezTo>
                <a:cubicBezTo>
                  <a:pt x="266" y="129"/>
                  <a:pt x="269" y="123"/>
                  <a:pt x="273" y="118"/>
                </a:cubicBezTo>
                <a:cubicBezTo>
                  <a:pt x="278" y="114"/>
                  <a:pt x="282" y="109"/>
                  <a:pt x="285" y="103"/>
                </a:cubicBezTo>
                <a:cubicBezTo>
                  <a:pt x="285" y="101"/>
                  <a:pt x="287" y="100"/>
                  <a:pt x="284" y="98"/>
                </a:cubicBezTo>
                <a:cubicBezTo>
                  <a:pt x="283" y="97"/>
                  <a:pt x="283" y="95"/>
                  <a:pt x="283" y="93"/>
                </a:cubicBezTo>
                <a:cubicBezTo>
                  <a:pt x="287" y="87"/>
                  <a:pt x="289" y="80"/>
                  <a:pt x="295" y="75"/>
                </a:cubicBezTo>
                <a:cubicBezTo>
                  <a:pt x="297" y="73"/>
                  <a:pt x="300" y="71"/>
                  <a:pt x="303" y="69"/>
                </a:cubicBezTo>
                <a:cubicBezTo>
                  <a:pt x="321" y="59"/>
                  <a:pt x="328" y="41"/>
                  <a:pt x="333" y="23"/>
                </a:cubicBezTo>
                <a:cubicBezTo>
                  <a:pt x="334" y="21"/>
                  <a:pt x="333" y="20"/>
                  <a:pt x="331" y="20"/>
                </a:cubicBezTo>
                <a:cubicBezTo>
                  <a:pt x="326" y="21"/>
                  <a:pt x="322" y="23"/>
                  <a:pt x="318" y="25"/>
                </a:cubicBezTo>
                <a:cubicBezTo>
                  <a:pt x="317" y="26"/>
                  <a:pt x="315" y="27"/>
                  <a:pt x="314" y="25"/>
                </a:cubicBezTo>
                <a:cubicBezTo>
                  <a:pt x="313" y="24"/>
                  <a:pt x="314" y="23"/>
                  <a:pt x="315" y="22"/>
                </a:cubicBezTo>
                <a:cubicBezTo>
                  <a:pt x="317" y="19"/>
                  <a:pt x="319" y="17"/>
                  <a:pt x="321" y="14"/>
                </a:cubicBezTo>
                <a:cubicBezTo>
                  <a:pt x="322" y="13"/>
                  <a:pt x="325" y="11"/>
                  <a:pt x="323" y="10"/>
                </a:cubicBezTo>
                <a:cubicBezTo>
                  <a:pt x="322" y="8"/>
                  <a:pt x="319" y="10"/>
                  <a:pt x="317" y="11"/>
                </a:cubicBezTo>
                <a:cubicBezTo>
                  <a:pt x="317" y="12"/>
                  <a:pt x="317" y="12"/>
                  <a:pt x="316" y="13"/>
                </a:cubicBezTo>
                <a:cubicBezTo>
                  <a:pt x="314" y="14"/>
                  <a:pt x="312" y="16"/>
                  <a:pt x="309" y="18"/>
                </a:cubicBezTo>
                <a:cubicBezTo>
                  <a:pt x="310" y="10"/>
                  <a:pt x="310" y="10"/>
                  <a:pt x="302" y="11"/>
                </a:cubicBezTo>
                <a:cubicBezTo>
                  <a:pt x="301" y="11"/>
                  <a:pt x="300" y="12"/>
                  <a:pt x="299" y="10"/>
                </a:cubicBezTo>
                <a:cubicBezTo>
                  <a:pt x="297" y="6"/>
                  <a:pt x="293" y="4"/>
                  <a:pt x="290" y="1"/>
                </a:cubicBezTo>
                <a:cubicBezTo>
                  <a:pt x="290" y="0"/>
                  <a:pt x="289" y="1"/>
                  <a:pt x="288" y="1"/>
                </a:cubicBezTo>
                <a:cubicBezTo>
                  <a:pt x="284" y="4"/>
                  <a:pt x="280" y="7"/>
                  <a:pt x="277" y="11"/>
                </a:cubicBezTo>
                <a:cubicBezTo>
                  <a:pt x="274" y="14"/>
                  <a:pt x="272" y="14"/>
                  <a:pt x="269" y="13"/>
                </a:cubicBezTo>
                <a:cubicBezTo>
                  <a:pt x="267" y="13"/>
                  <a:pt x="266" y="13"/>
                  <a:pt x="265" y="12"/>
                </a:cubicBezTo>
                <a:cubicBezTo>
                  <a:pt x="263" y="11"/>
                  <a:pt x="262" y="12"/>
                  <a:pt x="261" y="13"/>
                </a:cubicBezTo>
                <a:cubicBezTo>
                  <a:pt x="257" y="15"/>
                  <a:pt x="255" y="19"/>
                  <a:pt x="252" y="22"/>
                </a:cubicBezTo>
                <a:cubicBezTo>
                  <a:pt x="250" y="25"/>
                  <a:pt x="248" y="25"/>
                  <a:pt x="245" y="24"/>
                </a:cubicBezTo>
                <a:cubicBezTo>
                  <a:pt x="243" y="24"/>
                  <a:pt x="242" y="23"/>
                  <a:pt x="241" y="23"/>
                </a:cubicBezTo>
                <a:cubicBezTo>
                  <a:pt x="231" y="19"/>
                  <a:pt x="222" y="23"/>
                  <a:pt x="220" y="31"/>
                </a:cubicBezTo>
                <a:cubicBezTo>
                  <a:pt x="218" y="39"/>
                  <a:pt x="218" y="39"/>
                  <a:pt x="211" y="36"/>
                </a:cubicBezTo>
                <a:cubicBezTo>
                  <a:pt x="210" y="35"/>
                  <a:pt x="209" y="35"/>
                  <a:pt x="208" y="34"/>
                </a:cubicBezTo>
                <a:cubicBezTo>
                  <a:pt x="203" y="33"/>
                  <a:pt x="198" y="31"/>
                  <a:pt x="195" y="37"/>
                </a:cubicBezTo>
                <a:cubicBezTo>
                  <a:pt x="194" y="38"/>
                  <a:pt x="194" y="38"/>
                  <a:pt x="193" y="39"/>
                </a:cubicBezTo>
                <a:cubicBezTo>
                  <a:pt x="189" y="42"/>
                  <a:pt x="186" y="47"/>
                  <a:pt x="186" y="51"/>
                </a:cubicBezTo>
                <a:cubicBezTo>
                  <a:pt x="185" y="59"/>
                  <a:pt x="184" y="66"/>
                  <a:pt x="184" y="74"/>
                </a:cubicBezTo>
                <a:cubicBezTo>
                  <a:pt x="184" y="81"/>
                  <a:pt x="182" y="83"/>
                  <a:pt x="175" y="82"/>
                </a:cubicBezTo>
                <a:cubicBezTo>
                  <a:pt x="171" y="80"/>
                  <a:pt x="167" y="83"/>
                  <a:pt x="163" y="83"/>
                </a:cubicBezTo>
                <a:cubicBezTo>
                  <a:pt x="162" y="83"/>
                  <a:pt x="162" y="83"/>
                  <a:pt x="162" y="84"/>
                </a:cubicBezTo>
                <a:cubicBezTo>
                  <a:pt x="163" y="87"/>
                  <a:pt x="161" y="89"/>
                  <a:pt x="160" y="91"/>
                </a:cubicBezTo>
                <a:cubicBezTo>
                  <a:pt x="159" y="97"/>
                  <a:pt x="158" y="103"/>
                  <a:pt x="161" y="109"/>
                </a:cubicBezTo>
                <a:cubicBezTo>
                  <a:pt x="164" y="113"/>
                  <a:pt x="166" y="117"/>
                  <a:pt x="168" y="122"/>
                </a:cubicBezTo>
                <a:cubicBezTo>
                  <a:pt x="171" y="129"/>
                  <a:pt x="174" y="136"/>
                  <a:pt x="174" y="144"/>
                </a:cubicBezTo>
                <a:cubicBezTo>
                  <a:pt x="174" y="146"/>
                  <a:pt x="173" y="148"/>
                  <a:pt x="173" y="150"/>
                </a:cubicBezTo>
                <a:cubicBezTo>
                  <a:pt x="173" y="157"/>
                  <a:pt x="176" y="162"/>
                  <a:pt x="178" y="168"/>
                </a:cubicBezTo>
                <a:cubicBezTo>
                  <a:pt x="181" y="179"/>
                  <a:pt x="185" y="190"/>
                  <a:pt x="189" y="201"/>
                </a:cubicBezTo>
                <a:cubicBezTo>
                  <a:pt x="192" y="207"/>
                  <a:pt x="192" y="207"/>
                  <a:pt x="186" y="210"/>
                </a:cubicBezTo>
                <a:cubicBezTo>
                  <a:pt x="185" y="210"/>
                  <a:pt x="184" y="211"/>
                  <a:pt x="182" y="211"/>
                </a:cubicBezTo>
                <a:cubicBezTo>
                  <a:pt x="180" y="212"/>
                  <a:pt x="178" y="213"/>
                  <a:pt x="176" y="211"/>
                </a:cubicBezTo>
                <a:cubicBezTo>
                  <a:pt x="175" y="210"/>
                  <a:pt x="173" y="211"/>
                  <a:pt x="172" y="212"/>
                </a:cubicBezTo>
                <a:cubicBezTo>
                  <a:pt x="171" y="214"/>
                  <a:pt x="169" y="214"/>
                  <a:pt x="167" y="214"/>
                </a:cubicBezTo>
                <a:cubicBezTo>
                  <a:pt x="162" y="216"/>
                  <a:pt x="158" y="214"/>
                  <a:pt x="153" y="215"/>
                </a:cubicBezTo>
                <a:cubicBezTo>
                  <a:pt x="150" y="216"/>
                  <a:pt x="148" y="215"/>
                  <a:pt x="145" y="214"/>
                </a:cubicBezTo>
                <a:cubicBezTo>
                  <a:pt x="138" y="211"/>
                  <a:pt x="132" y="210"/>
                  <a:pt x="124" y="211"/>
                </a:cubicBezTo>
                <a:cubicBezTo>
                  <a:pt x="120" y="212"/>
                  <a:pt x="116" y="214"/>
                  <a:pt x="112" y="215"/>
                </a:cubicBezTo>
                <a:cubicBezTo>
                  <a:pt x="105" y="217"/>
                  <a:pt x="98" y="219"/>
                  <a:pt x="92" y="224"/>
                </a:cubicBezTo>
                <a:cubicBezTo>
                  <a:pt x="90" y="226"/>
                  <a:pt x="89" y="229"/>
                  <a:pt x="86" y="229"/>
                </a:cubicBezTo>
                <a:cubicBezTo>
                  <a:pt x="81" y="231"/>
                  <a:pt x="78" y="234"/>
                  <a:pt x="76" y="238"/>
                </a:cubicBezTo>
                <a:cubicBezTo>
                  <a:pt x="72" y="246"/>
                  <a:pt x="68" y="255"/>
                  <a:pt x="64" y="263"/>
                </a:cubicBezTo>
                <a:cubicBezTo>
                  <a:pt x="62" y="267"/>
                  <a:pt x="61" y="271"/>
                  <a:pt x="64" y="275"/>
                </a:cubicBezTo>
                <a:cubicBezTo>
                  <a:pt x="65" y="277"/>
                  <a:pt x="65" y="278"/>
                  <a:pt x="64" y="279"/>
                </a:cubicBezTo>
                <a:cubicBezTo>
                  <a:pt x="60" y="283"/>
                  <a:pt x="56" y="287"/>
                  <a:pt x="51" y="288"/>
                </a:cubicBezTo>
                <a:cubicBezTo>
                  <a:pt x="47" y="289"/>
                  <a:pt x="46" y="291"/>
                  <a:pt x="45" y="295"/>
                </a:cubicBezTo>
                <a:cubicBezTo>
                  <a:pt x="42" y="303"/>
                  <a:pt x="42" y="312"/>
                  <a:pt x="48" y="320"/>
                </a:cubicBezTo>
                <a:cubicBezTo>
                  <a:pt x="49" y="321"/>
                  <a:pt x="50" y="323"/>
                  <a:pt x="51" y="324"/>
                </a:cubicBezTo>
                <a:cubicBezTo>
                  <a:pt x="52" y="328"/>
                  <a:pt x="55" y="329"/>
                  <a:pt x="59" y="328"/>
                </a:cubicBezTo>
                <a:cubicBezTo>
                  <a:pt x="63" y="327"/>
                  <a:pt x="66" y="329"/>
                  <a:pt x="68" y="333"/>
                </a:cubicBezTo>
                <a:cubicBezTo>
                  <a:pt x="69" y="338"/>
                  <a:pt x="71" y="342"/>
                  <a:pt x="73" y="346"/>
                </a:cubicBezTo>
                <a:cubicBezTo>
                  <a:pt x="74" y="348"/>
                  <a:pt x="75" y="349"/>
                  <a:pt x="77" y="348"/>
                </a:cubicBezTo>
                <a:cubicBezTo>
                  <a:pt x="78" y="348"/>
                  <a:pt x="80" y="348"/>
                  <a:pt x="82" y="350"/>
                </a:cubicBezTo>
                <a:cubicBezTo>
                  <a:pt x="86" y="357"/>
                  <a:pt x="92" y="361"/>
                  <a:pt x="98" y="366"/>
                </a:cubicBezTo>
                <a:cubicBezTo>
                  <a:pt x="101" y="369"/>
                  <a:pt x="103" y="368"/>
                  <a:pt x="105" y="365"/>
                </a:cubicBezTo>
                <a:cubicBezTo>
                  <a:pt x="106" y="362"/>
                  <a:pt x="106" y="359"/>
                  <a:pt x="105" y="357"/>
                </a:cubicBezTo>
                <a:cubicBezTo>
                  <a:pt x="104" y="353"/>
                  <a:pt x="106" y="351"/>
                  <a:pt x="110" y="352"/>
                </a:cubicBezTo>
                <a:cubicBezTo>
                  <a:pt x="112" y="352"/>
                  <a:pt x="113" y="353"/>
                  <a:pt x="114" y="354"/>
                </a:cubicBezTo>
                <a:cubicBezTo>
                  <a:pt x="115" y="353"/>
                  <a:pt x="115" y="353"/>
                  <a:pt x="115" y="352"/>
                </a:cubicBezTo>
                <a:cubicBezTo>
                  <a:pt x="114" y="347"/>
                  <a:pt x="112" y="342"/>
                  <a:pt x="111" y="337"/>
                </a:cubicBezTo>
                <a:cubicBezTo>
                  <a:pt x="110" y="333"/>
                  <a:pt x="112" y="331"/>
                  <a:pt x="116" y="332"/>
                </a:cubicBezTo>
                <a:cubicBezTo>
                  <a:pt x="118" y="333"/>
                  <a:pt x="121" y="334"/>
                  <a:pt x="124" y="334"/>
                </a:cubicBezTo>
                <a:cubicBezTo>
                  <a:pt x="124" y="330"/>
                  <a:pt x="124" y="326"/>
                  <a:pt x="123" y="322"/>
                </a:cubicBezTo>
                <a:cubicBezTo>
                  <a:pt x="122" y="316"/>
                  <a:pt x="119" y="311"/>
                  <a:pt x="119" y="304"/>
                </a:cubicBezTo>
                <a:cubicBezTo>
                  <a:pt x="119" y="302"/>
                  <a:pt x="118" y="298"/>
                  <a:pt x="120" y="296"/>
                </a:cubicBezTo>
                <a:cubicBezTo>
                  <a:pt x="123" y="294"/>
                  <a:pt x="125" y="298"/>
                  <a:pt x="128" y="298"/>
                </a:cubicBezTo>
                <a:cubicBezTo>
                  <a:pt x="130" y="299"/>
                  <a:pt x="131" y="303"/>
                  <a:pt x="134" y="301"/>
                </a:cubicBezTo>
                <a:cubicBezTo>
                  <a:pt x="136" y="300"/>
                  <a:pt x="137" y="297"/>
                  <a:pt x="138" y="294"/>
                </a:cubicBezTo>
                <a:cubicBezTo>
                  <a:pt x="138" y="294"/>
                  <a:pt x="138" y="294"/>
                  <a:pt x="138" y="294"/>
                </a:cubicBezTo>
                <a:cubicBezTo>
                  <a:pt x="142" y="280"/>
                  <a:pt x="145" y="267"/>
                  <a:pt x="142" y="253"/>
                </a:cubicBezTo>
                <a:cubicBezTo>
                  <a:pt x="141" y="252"/>
                  <a:pt x="142" y="249"/>
                  <a:pt x="142" y="247"/>
                </a:cubicBezTo>
                <a:cubicBezTo>
                  <a:pt x="142" y="245"/>
                  <a:pt x="143" y="244"/>
                  <a:pt x="145" y="244"/>
                </a:cubicBezTo>
                <a:cubicBezTo>
                  <a:pt x="147" y="243"/>
                  <a:pt x="147" y="245"/>
                  <a:pt x="147" y="246"/>
                </a:cubicBezTo>
                <a:cubicBezTo>
                  <a:pt x="148" y="247"/>
                  <a:pt x="149" y="249"/>
                  <a:pt x="150" y="251"/>
                </a:cubicBezTo>
                <a:cubicBezTo>
                  <a:pt x="151" y="252"/>
                  <a:pt x="152" y="252"/>
                  <a:pt x="154" y="251"/>
                </a:cubicBezTo>
                <a:cubicBezTo>
                  <a:pt x="160" y="248"/>
                  <a:pt x="164" y="244"/>
                  <a:pt x="164" y="236"/>
                </a:cubicBezTo>
                <a:cubicBezTo>
                  <a:pt x="164" y="233"/>
                  <a:pt x="163" y="230"/>
                  <a:pt x="165" y="227"/>
                </a:cubicBezTo>
                <a:cubicBezTo>
                  <a:pt x="165" y="225"/>
                  <a:pt x="166" y="224"/>
                  <a:pt x="168" y="224"/>
                </a:cubicBezTo>
                <a:cubicBezTo>
                  <a:pt x="175" y="227"/>
                  <a:pt x="181" y="229"/>
                  <a:pt x="187" y="234"/>
                </a:cubicBezTo>
                <a:cubicBezTo>
                  <a:pt x="193" y="239"/>
                  <a:pt x="199" y="243"/>
                  <a:pt x="202" y="251"/>
                </a:cubicBezTo>
                <a:cubicBezTo>
                  <a:pt x="206" y="265"/>
                  <a:pt x="207" y="280"/>
                  <a:pt x="208" y="294"/>
                </a:cubicBezTo>
                <a:cubicBezTo>
                  <a:pt x="208" y="310"/>
                  <a:pt x="209" y="326"/>
                  <a:pt x="209" y="341"/>
                </a:cubicBezTo>
                <a:cubicBezTo>
                  <a:pt x="208" y="350"/>
                  <a:pt x="208" y="359"/>
                  <a:pt x="209" y="368"/>
                </a:cubicBezTo>
                <a:cubicBezTo>
                  <a:pt x="209" y="400"/>
                  <a:pt x="208" y="432"/>
                  <a:pt x="208" y="464"/>
                </a:cubicBezTo>
                <a:cubicBezTo>
                  <a:pt x="208" y="465"/>
                  <a:pt x="208" y="466"/>
                  <a:pt x="207" y="468"/>
                </a:cubicBezTo>
                <a:cubicBezTo>
                  <a:pt x="207" y="469"/>
                  <a:pt x="207" y="470"/>
                  <a:pt x="205" y="470"/>
                </a:cubicBezTo>
                <a:cubicBezTo>
                  <a:pt x="203" y="470"/>
                  <a:pt x="201" y="471"/>
                  <a:pt x="202" y="472"/>
                </a:cubicBezTo>
                <a:cubicBezTo>
                  <a:pt x="203" y="475"/>
                  <a:pt x="200" y="479"/>
                  <a:pt x="205" y="480"/>
                </a:cubicBezTo>
                <a:cubicBezTo>
                  <a:pt x="206" y="480"/>
                  <a:pt x="207" y="480"/>
                  <a:pt x="207" y="482"/>
                </a:cubicBezTo>
                <a:cubicBezTo>
                  <a:pt x="207" y="485"/>
                  <a:pt x="207" y="489"/>
                  <a:pt x="207" y="492"/>
                </a:cubicBezTo>
                <a:cubicBezTo>
                  <a:pt x="207" y="493"/>
                  <a:pt x="207" y="494"/>
                  <a:pt x="206" y="494"/>
                </a:cubicBezTo>
                <a:cubicBezTo>
                  <a:pt x="200" y="490"/>
                  <a:pt x="195" y="487"/>
                  <a:pt x="190" y="484"/>
                </a:cubicBezTo>
                <a:cubicBezTo>
                  <a:pt x="187" y="481"/>
                  <a:pt x="185" y="478"/>
                  <a:pt x="182" y="475"/>
                </a:cubicBezTo>
                <a:cubicBezTo>
                  <a:pt x="176" y="468"/>
                  <a:pt x="168" y="463"/>
                  <a:pt x="158" y="461"/>
                </a:cubicBezTo>
                <a:cubicBezTo>
                  <a:pt x="152" y="460"/>
                  <a:pt x="147" y="458"/>
                  <a:pt x="141" y="457"/>
                </a:cubicBezTo>
                <a:cubicBezTo>
                  <a:pt x="135" y="455"/>
                  <a:pt x="129" y="453"/>
                  <a:pt x="123" y="453"/>
                </a:cubicBezTo>
                <a:cubicBezTo>
                  <a:pt x="119" y="453"/>
                  <a:pt x="116" y="454"/>
                  <a:pt x="113" y="454"/>
                </a:cubicBezTo>
                <a:cubicBezTo>
                  <a:pt x="100" y="455"/>
                  <a:pt x="87" y="458"/>
                  <a:pt x="75" y="463"/>
                </a:cubicBezTo>
                <a:cubicBezTo>
                  <a:pt x="69" y="465"/>
                  <a:pt x="64" y="468"/>
                  <a:pt x="58" y="469"/>
                </a:cubicBezTo>
                <a:cubicBezTo>
                  <a:pt x="53" y="470"/>
                  <a:pt x="49" y="473"/>
                  <a:pt x="45" y="475"/>
                </a:cubicBezTo>
                <a:cubicBezTo>
                  <a:pt x="37" y="482"/>
                  <a:pt x="29" y="489"/>
                  <a:pt x="21" y="494"/>
                </a:cubicBezTo>
                <a:cubicBezTo>
                  <a:pt x="19" y="495"/>
                  <a:pt x="18" y="496"/>
                  <a:pt x="17" y="497"/>
                </a:cubicBezTo>
                <a:cubicBezTo>
                  <a:pt x="11" y="502"/>
                  <a:pt x="8" y="509"/>
                  <a:pt x="2" y="514"/>
                </a:cubicBezTo>
                <a:cubicBezTo>
                  <a:pt x="1" y="515"/>
                  <a:pt x="0" y="517"/>
                  <a:pt x="1" y="519"/>
                </a:cubicBezTo>
                <a:cubicBezTo>
                  <a:pt x="8" y="517"/>
                  <a:pt x="14" y="513"/>
                  <a:pt x="20" y="509"/>
                </a:cubicBezTo>
                <a:cubicBezTo>
                  <a:pt x="21" y="507"/>
                  <a:pt x="24" y="505"/>
                  <a:pt x="26" y="506"/>
                </a:cubicBezTo>
                <a:cubicBezTo>
                  <a:pt x="27" y="507"/>
                  <a:pt x="28" y="507"/>
                  <a:pt x="30" y="506"/>
                </a:cubicBezTo>
                <a:cubicBezTo>
                  <a:pt x="41" y="501"/>
                  <a:pt x="52" y="496"/>
                  <a:pt x="64" y="492"/>
                </a:cubicBezTo>
                <a:cubicBezTo>
                  <a:pt x="66" y="491"/>
                  <a:pt x="68" y="490"/>
                  <a:pt x="70" y="492"/>
                </a:cubicBezTo>
                <a:cubicBezTo>
                  <a:pt x="71" y="493"/>
                  <a:pt x="72" y="493"/>
                  <a:pt x="74" y="493"/>
                </a:cubicBezTo>
                <a:cubicBezTo>
                  <a:pt x="76" y="491"/>
                  <a:pt x="79" y="491"/>
                  <a:pt x="82" y="490"/>
                </a:cubicBezTo>
                <a:cubicBezTo>
                  <a:pt x="88" y="487"/>
                  <a:pt x="95" y="485"/>
                  <a:pt x="102" y="486"/>
                </a:cubicBezTo>
                <a:cubicBezTo>
                  <a:pt x="107" y="486"/>
                  <a:pt x="111" y="484"/>
                  <a:pt x="115" y="482"/>
                </a:cubicBezTo>
                <a:cubicBezTo>
                  <a:pt x="119" y="479"/>
                  <a:pt x="124" y="477"/>
                  <a:pt x="129" y="474"/>
                </a:cubicBezTo>
                <a:cubicBezTo>
                  <a:pt x="133" y="472"/>
                  <a:pt x="137" y="471"/>
                  <a:pt x="142" y="473"/>
                </a:cubicBezTo>
                <a:cubicBezTo>
                  <a:pt x="147" y="475"/>
                  <a:pt x="153" y="476"/>
                  <a:pt x="158" y="475"/>
                </a:cubicBezTo>
                <a:cubicBezTo>
                  <a:pt x="163" y="474"/>
                  <a:pt x="167" y="476"/>
                  <a:pt x="172" y="477"/>
                </a:cubicBezTo>
                <a:cubicBezTo>
                  <a:pt x="174" y="478"/>
                  <a:pt x="176" y="480"/>
                  <a:pt x="178" y="481"/>
                </a:cubicBezTo>
                <a:cubicBezTo>
                  <a:pt x="184" y="485"/>
                  <a:pt x="191" y="489"/>
                  <a:pt x="197" y="494"/>
                </a:cubicBezTo>
                <a:cubicBezTo>
                  <a:pt x="204" y="502"/>
                  <a:pt x="206" y="512"/>
                  <a:pt x="206" y="523"/>
                </a:cubicBezTo>
                <a:cubicBezTo>
                  <a:pt x="207" y="550"/>
                  <a:pt x="206" y="578"/>
                  <a:pt x="207" y="606"/>
                </a:cubicBezTo>
                <a:cubicBezTo>
                  <a:pt x="208" y="624"/>
                  <a:pt x="207" y="643"/>
                  <a:pt x="208" y="661"/>
                </a:cubicBezTo>
                <a:cubicBezTo>
                  <a:pt x="208" y="670"/>
                  <a:pt x="208" y="679"/>
                  <a:pt x="208" y="688"/>
                </a:cubicBezTo>
                <a:cubicBezTo>
                  <a:pt x="209" y="698"/>
                  <a:pt x="209" y="708"/>
                  <a:pt x="210" y="718"/>
                </a:cubicBezTo>
                <a:cubicBezTo>
                  <a:pt x="211" y="727"/>
                  <a:pt x="211" y="736"/>
                  <a:pt x="211" y="745"/>
                </a:cubicBezTo>
                <a:cubicBezTo>
                  <a:pt x="211" y="746"/>
                  <a:pt x="212" y="748"/>
                  <a:pt x="210" y="749"/>
                </a:cubicBezTo>
                <a:cubicBezTo>
                  <a:pt x="208" y="749"/>
                  <a:pt x="207" y="750"/>
                  <a:pt x="205" y="748"/>
                </a:cubicBezTo>
                <a:cubicBezTo>
                  <a:pt x="205" y="747"/>
                  <a:pt x="204" y="747"/>
                  <a:pt x="203" y="747"/>
                </a:cubicBezTo>
                <a:cubicBezTo>
                  <a:pt x="202" y="747"/>
                  <a:pt x="201" y="749"/>
                  <a:pt x="202" y="750"/>
                </a:cubicBezTo>
                <a:cubicBezTo>
                  <a:pt x="203" y="753"/>
                  <a:pt x="200" y="755"/>
                  <a:pt x="199" y="757"/>
                </a:cubicBezTo>
                <a:cubicBezTo>
                  <a:pt x="199" y="759"/>
                  <a:pt x="198" y="760"/>
                  <a:pt x="198" y="761"/>
                </a:cubicBezTo>
                <a:cubicBezTo>
                  <a:pt x="199" y="765"/>
                  <a:pt x="197" y="769"/>
                  <a:pt x="197" y="773"/>
                </a:cubicBezTo>
                <a:cubicBezTo>
                  <a:pt x="198" y="775"/>
                  <a:pt x="196" y="777"/>
                  <a:pt x="195" y="777"/>
                </a:cubicBezTo>
                <a:cubicBezTo>
                  <a:pt x="193" y="778"/>
                  <a:pt x="193" y="779"/>
                  <a:pt x="194" y="780"/>
                </a:cubicBezTo>
                <a:cubicBezTo>
                  <a:pt x="197" y="786"/>
                  <a:pt x="197" y="793"/>
                  <a:pt x="197" y="800"/>
                </a:cubicBezTo>
                <a:cubicBezTo>
                  <a:pt x="197" y="803"/>
                  <a:pt x="196" y="804"/>
                  <a:pt x="193" y="805"/>
                </a:cubicBezTo>
                <a:cubicBezTo>
                  <a:pt x="194" y="802"/>
                  <a:pt x="194" y="802"/>
                  <a:pt x="191" y="802"/>
                </a:cubicBezTo>
                <a:cubicBezTo>
                  <a:pt x="188" y="802"/>
                  <a:pt x="187" y="803"/>
                  <a:pt x="185" y="804"/>
                </a:cubicBezTo>
                <a:cubicBezTo>
                  <a:pt x="182" y="806"/>
                  <a:pt x="179" y="807"/>
                  <a:pt x="176" y="805"/>
                </a:cubicBezTo>
                <a:cubicBezTo>
                  <a:pt x="175" y="805"/>
                  <a:pt x="173" y="806"/>
                  <a:pt x="172" y="807"/>
                </a:cubicBezTo>
                <a:cubicBezTo>
                  <a:pt x="171" y="808"/>
                  <a:pt x="173" y="808"/>
                  <a:pt x="173" y="809"/>
                </a:cubicBezTo>
                <a:cubicBezTo>
                  <a:pt x="174" y="811"/>
                  <a:pt x="163" y="818"/>
                  <a:pt x="154" y="820"/>
                </a:cubicBezTo>
                <a:cubicBezTo>
                  <a:pt x="291" y="820"/>
                  <a:pt x="291" y="820"/>
                  <a:pt x="291" y="820"/>
                </a:cubicBezTo>
                <a:cubicBezTo>
                  <a:pt x="278" y="818"/>
                  <a:pt x="266" y="808"/>
                  <a:pt x="264" y="811"/>
                </a:cubicBezTo>
                <a:cubicBezTo>
                  <a:pt x="263" y="812"/>
                  <a:pt x="261" y="813"/>
                  <a:pt x="259" y="811"/>
                </a:cubicBezTo>
                <a:cubicBezTo>
                  <a:pt x="258" y="809"/>
                  <a:pt x="255" y="809"/>
                  <a:pt x="254" y="810"/>
                </a:cubicBezTo>
                <a:cubicBezTo>
                  <a:pt x="252" y="811"/>
                  <a:pt x="250" y="812"/>
                  <a:pt x="249" y="811"/>
                </a:cubicBezTo>
                <a:cubicBezTo>
                  <a:pt x="247" y="810"/>
                  <a:pt x="248" y="807"/>
                  <a:pt x="248" y="806"/>
                </a:cubicBezTo>
                <a:cubicBezTo>
                  <a:pt x="249" y="802"/>
                  <a:pt x="250" y="799"/>
                  <a:pt x="250" y="795"/>
                </a:cubicBezTo>
                <a:cubicBezTo>
                  <a:pt x="250" y="792"/>
                  <a:pt x="250" y="790"/>
                  <a:pt x="246" y="790"/>
                </a:cubicBezTo>
                <a:cubicBezTo>
                  <a:pt x="245" y="790"/>
                  <a:pt x="244" y="789"/>
                  <a:pt x="243" y="788"/>
                </a:cubicBezTo>
                <a:cubicBezTo>
                  <a:pt x="241" y="786"/>
                  <a:pt x="239" y="787"/>
                  <a:pt x="237" y="787"/>
                </a:cubicBezTo>
                <a:cubicBezTo>
                  <a:pt x="235" y="788"/>
                  <a:pt x="233" y="790"/>
                  <a:pt x="234" y="792"/>
                </a:cubicBezTo>
                <a:cubicBezTo>
                  <a:pt x="235" y="796"/>
                  <a:pt x="233" y="799"/>
                  <a:pt x="232" y="803"/>
                </a:cubicBezTo>
                <a:cubicBezTo>
                  <a:pt x="232" y="804"/>
                  <a:pt x="232" y="806"/>
                  <a:pt x="231" y="806"/>
                </a:cubicBezTo>
                <a:cubicBezTo>
                  <a:pt x="230" y="805"/>
                  <a:pt x="229" y="805"/>
                  <a:pt x="229" y="803"/>
                </a:cubicBezTo>
                <a:cubicBezTo>
                  <a:pt x="229" y="801"/>
                  <a:pt x="228" y="799"/>
                  <a:pt x="228" y="796"/>
                </a:cubicBezTo>
                <a:cubicBezTo>
                  <a:pt x="226" y="786"/>
                  <a:pt x="224" y="777"/>
                  <a:pt x="223" y="767"/>
                </a:cubicBezTo>
                <a:cubicBezTo>
                  <a:pt x="222" y="754"/>
                  <a:pt x="222" y="741"/>
                  <a:pt x="221" y="727"/>
                </a:cubicBezTo>
                <a:cubicBezTo>
                  <a:pt x="219" y="715"/>
                  <a:pt x="219" y="702"/>
                  <a:pt x="218" y="690"/>
                </a:cubicBezTo>
                <a:cubicBezTo>
                  <a:pt x="218" y="676"/>
                  <a:pt x="217" y="662"/>
                  <a:pt x="217" y="648"/>
                </a:cubicBezTo>
                <a:cubicBezTo>
                  <a:pt x="217" y="639"/>
                  <a:pt x="217" y="630"/>
                  <a:pt x="217" y="620"/>
                </a:cubicBezTo>
                <a:cubicBezTo>
                  <a:pt x="216" y="612"/>
                  <a:pt x="217" y="604"/>
                  <a:pt x="217" y="596"/>
                </a:cubicBezTo>
                <a:cubicBezTo>
                  <a:pt x="217" y="577"/>
                  <a:pt x="216" y="558"/>
                  <a:pt x="217" y="538"/>
                </a:cubicBezTo>
                <a:cubicBezTo>
                  <a:pt x="218" y="529"/>
                  <a:pt x="217" y="519"/>
                  <a:pt x="220" y="509"/>
                </a:cubicBezTo>
                <a:cubicBezTo>
                  <a:pt x="221" y="505"/>
                  <a:pt x="219" y="502"/>
                  <a:pt x="220" y="498"/>
                </a:cubicBezTo>
                <a:cubicBezTo>
                  <a:pt x="221" y="493"/>
                  <a:pt x="224" y="489"/>
                  <a:pt x="226" y="485"/>
                </a:cubicBezTo>
                <a:cubicBezTo>
                  <a:pt x="228" y="482"/>
                  <a:pt x="229" y="482"/>
                  <a:pt x="230" y="484"/>
                </a:cubicBezTo>
                <a:cubicBezTo>
                  <a:pt x="231" y="485"/>
                  <a:pt x="231" y="486"/>
                  <a:pt x="231" y="487"/>
                </a:cubicBezTo>
                <a:cubicBezTo>
                  <a:pt x="234" y="495"/>
                  <a:pt x="240" y="500"/>
                  <a:pt x="246" y="506"/>
                </a:cubicBezTo>
                <a:cubicBezTo>
                  <a:pt x="255" y="515"/>
                  <a:pt x="267" y="514"/>
                  <a:pt x="278" y="517"/>
                </a:cubicBezTo>
                <a:cubicBezTo>
                  <a:pt x="283" y="518"/>
                  <a:pt x="287" y="515"/>
                  <a:pt x="292" y="513"/>
                </a:cubicBezTo>
                <a:cubicBezTo>
                  <a:pt x="297" y="511"/>
                  <a:pt x="302" y="511"/>
                  <a:pt x="305" y="516"/>
                </a:cubicBezTo>
                <a:cubicBezTo>
                  <a:pt x="309" y="522"/>
                  <a:pt x="314" y="525"/>
                  <a:pt x="321" y="527"/>
                </a:cubicBezTo>
                <a:cubicBezTo>
                  <a:pt x="326" y="529"/>
                  <a:pt x="331" y="529"/>
                  <a:pt x="335" y="526"/>
                </a:cubicBezTo>
                <a:cubicBezTo>
                  <a:pt x="342" y="522"/>
                  <a:pt x="348" y="522"/>
                  <a:pt x="354" y="527"/>
                </a:cubicBezTo>
                <a:cubicBezTo>
                  <a:pt x="359" y="531"/>
                  <a:pt x="364" y="533"/>
                  <a:pt x="370" y="535"/>
                </a:cubicBezTo>
                <a:cubicBezTo>
                  <a:pt x="381" y="537"/>
                  <a:pt x="390" y="533"/>
                  <a:pt x="398" y="526"/>
                </a:cubicBezTo>
                <a:cubicBezTo>
                  <a:pt x="403" y="521"/>
                  <a:pt x="406" y="515"/>
                  <a:pt x="403" y="508"/>
                </a:cubicBezTo>
                <a:cubicBezTo>
                  <a:pt x="402" y="502"/>
                  <a:pt x="402" y="498"/>
                  <a:pt x="405" y="493"/>
                </a:cubicBezTo>
                <a:cubicBezTo>
                  <a:pt x="406" y="492"/>
                  <a:pt x="406" y="490"/>
                  <a:pt x="406" y="489"/>
                </a:cubicBezTo>
                <a:cubicBezTo>
                  <a:pt x="404" y="485"/>
                  <a:pt x="402" y="481"/>
                  <a:pt x="398" y="478"/>
                </a:cubicBezTo>
                <a:cubicBezTo>
                  <a:pt x="396" y="476"/>
                  <a:pt x="393" y="474"/>
                  <a:pt x="391" y="472"/>
                </a:cubicBezTo>
                <a:cubicBezTo>
                  <a:pt x="387" y="468"/>
                  <a:pt x="387" y="467"/>
                  <a:pt x="390" y="463"/>
                </a:cubicBezTo>
                <a:cubicBezTo>
                  <a:pt x="395" y="457"/>
                  <a:pt x="394" y="453"/>
                  <a:pt x="388" y="447"/>
                </a:cubicBezTo>
                <a:cubicBezTo>
                  <a:pt x="382" y="443"/>
                  <a:pt x="375" y="440"/>
                  <a:pt x="369" y="438"/>
                </a:cubicBezTo>
                <a:cubicBezTo>
                  <a:pt x="362" y="436"/>
                  <a:pt x="356" y="435"/>
                  <a:pt x="349" y="433"/>
                </a:cubicBezTo>
                <a:cubicBezTo>
                  <a:pt x="347" y="432"/>
                  <a:pt x="346" y="431"/>
                  <a:pt x="348" y="429"/>
                </a:cubicBezTo>
                <a:cubicBezTo>
                  <a:pt x="352" y="425"/>
                  <a:pt x="351" y="422"/>
                  <a:pt x="347" y="419"/>
                </a:cubicBezTo>
                <a:cubicBezTo>
                  <a:pt x="346" y="418"/>
                  <a:pt x="345" y="418"/>
                  <a:pt x="343" y="418"/>
                </a:cubicBezTo>
                <a:cubicBezTo>
                  <a:pt x="336" y="416"/>
                  <a:pt x="329" y="417"/>
                  <a:pt x="322" y="418"/>
                </a:cubicBezTo>
                <a:cubicBezTo>
                  <a:pt x="310" y="419"/>
                  <a:pt x="298" y="423"/>
                  <a:pt x="287" y="427"/>
                </a:cubicBezTo>
                <a:cubicBezTo>
                  <a:pt x="281" y="430"/>
                  <a:pt x="275" y="435"/>
                  <a:pt x="269" y="437"/>
                </a:cubicBezTo>
                <a:cubicBezTo>
                  <a:pt x="257" y="441"/>
                  <a:pt x="248" y="449"/>
                  <a:pt x="241" y="460"/>
                </a:cubicBezTo>
                <a:cubicBezTo>
                  <a:pt x="240" y="461"/>
                  <a:pt x="240" y="462"/>
                  <a:pt x="239" y="462"/>
                </a:cubicBezTo>
                <a:cubicBezTo>
                  <a:pt x="233" y="467"/>
                  <a:pt x="227" y="468"/>
                  <a:pt x="220" y="469"/>
                </a:cubicBezTo>
                <a:cubicBezTo>
                  <a:pt x="216" y="469"/>
                  <a:pt x="216" y="468"/>
                  <a:pt x="216" y="465"/>
                </a:cubicBezTo>
                <a:cubicBezTo>
                  <a:pt x="216" y="441"/>
                  <a:pt x="217" y="418"/>
                  <a:pt x="217" y="394"/>
                </a:cubicBezTo>
                <a:cubicBezTo>
                  <a:pt x="217" y="378"/>
                  <a:pt x="217" y="361"/>
                  <a:pt x="217" y="344"/>
                </a:cubicBezTo>
                <a:cubicBezTo>
                  <a:pt x="217" y="329"/>
                  <a:pt x="216" y="314"/>
                  <a:pt x="217" y="299"/>
                </a:cubicBezTo>
                <a:cubicBezTo>
                  <a:pt x="217" y="286"/>
                  <a:pt x="219" y="274"/>
                  <a:pt x="227" y="264"/>
                </a:cubicBezTo>
                <a:cubicBezTo>
                  <a:pt x="232" y="257"/>
                  <a:pt x="238" y="252"/>
                  <a:pt x="244" y="246"/>
                </a:cubicBezTo>
                <a:cubicBezTo>
                  <a:pt x="247" y="244"/>
                  <a:pt x="249" y="242"/>
                  <a:pt x="253" y="244"/>
                </a:cubicBezTo>
                <a:cubicBezTo>
                  <a:pt x="258" y="246"/>
                  <a:pt x="263" y="245"/>
                  <a:pt x="267" y="240"/>
                </a:cubicBezTo>
                <a:cubicBezTo>
                  <a:pt x="274" y="231"/>
                  <a:pt x="283" y="228"/>
                  <a:pt x="294" y="228"/>
                </a:cubicBezTo>
                <a:cubicBezTo>
                  <a:pt x="298" y="228"/>
                  <a:pt x="302" y="228"/>
                  <a:pt x="307" y="227"/>
                </a:cubicBezTo>
                <a:cubicBezTo>
                  <a:pt x="314" y="226"/>
                  <a:pt x="319" y="221"/>
                  <a:pt x="324" y="217"/>
                </a:cubicBezTo>
                <a:cubicBezTo>
                  <a:pt x="334" y="209"/>
                  <a:pt x="343" y="199"/>
                  <a:pt x="353" y="191"/>
                </a:cubicBezTo>
                <a:cubicBezTo>
                  <a:pt x="359" y="187"/>
                  <a:pt x="364" y="182"/>
                  <a:pt x="369" y="178"/>
                </a:cubicBezTo>
                <a:cubicBezTo>
                  <a:pt x="372" y="176"/>
                  <a:pt x="376" y="173"/>
                  <a:pt x="377" y="170"/>
                </a:cubicBezTo>
                <a:cubicBezTo>
                  <a:pt x="378" y="165"/>
                  <a:pt x="381" y="165"/>
                  <a:pt x="384" y="165"/>
                </a:cubicBezTo>
                <a:cubicBezTo>
                  <a:pt x="387" y="164"/>
                  <a:pt x="390" y="163"/>
                  <a:pt x="393" y="162"/>
                </a:cubicBezTo>
                <a:cubicBezTo>
                  <a:pt x="406" y="156"/>
                  <a:pt x="420" y="153"/>
                  <a:pt x="433" y="146"/>
                </a:cubicBezTo>
                <a:cubicBezTo>
                  <a:pt x="438" y="143"/>
                  <a:pt x="443" y="139"/>
                  <a:pt x="447" y="134"/>
                </a:cubicBezTo>
                <a:cubicBezTo>
                  <a:pt x="448" y="133"/>
                  <a:pt x="448" y="131"/>
                  <a:pt x="445" y="130"/>
                </a:cubicBezTo>
                <a:cubicBezTo>
                  <a:pt x="443" y="129"/>
                  <a:pt x="441" y="128"/>
                  <a:pt x="439" y="127"/>
                </a:cubicBezTo>
                <a:cubicBezTo>
                  <a:pt x="443" y="126"/>
                  <a:pt x="446" y="124"/>
                  <a:pt x="449" y="122"/>
                </a:cubicBezTo>
                <a:cubicBezTo>
                  <a:pt x="454" y="119"/>
                  <a:pt x="459" y="120"/>
                  <a:pt x="464" y="118"/>
                </a:cubicBezTo>
                <a:cubicBezTo>
                  <a:pt x="465" y="118"/>
                  <a:pt x="466" y="117"/>
                  <a:pt x="466" y="116"/>
                </a:cubicBezTo>
                <a:cubicBezTo>
                  <a:pt x="466" y="115"/>
                  <a:pt x="465" y="114"/>
                  <a:pt x="464" y="114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Freeform 6">
            <a:extLst>
              <a:ext uri="{FF2B5EF4-FFF2-40B4-BE49-F238E27FC236}">
                <a16:creationId xmlns:a16="http://schemas.microsoft.com/office/drawing/2014/main" id="{BC8ED605-9B91-43CA-A4D3-1284E54A645A}"/>
              </a:ext>
            </a:extLst>
          </p:cNvPr>
          <p:cNvSpPr>
            <a:spLocks noEditPoints="1"/>
          </p:cNvSpPr>
          <p:nvPr/>
        </p:nvSpPr>
        <p:spPr bwMode="auto">
          <a:xfrm>
            <a:off x="6126499" y="-352237"/>
            <a:ext cx="6188883" cy="6585086"/>
          </a:xfrm>
          <a:custGeom>
            <a:avLst/>
            <a:gdLst>
              <a:gd name="T0" fmla="*/ 1460 w 6034"/>
              <a:gd name="T1" fmla="*/ 5112 h 6420"/>
              <a:gd name="T2" fmla="*/ 5676 w 6034"/>
              <a:gd name="T3" fmla="*/ 2123 h 6420"/>
              <a:gd name="T4" fmla="*/ 5697 w 6034"/>
              <a:gd name="T5" fmla="*/ 1655 h 6420"/>
              <a:gd name="T6" fmla="*/ 5487 w 6034"/>
              <a:gd name="T7" fmla="*/ 1086 h 6420"/>
              <a:gd name="T8" fmla="*/ 5071 w 6034"/>
              <a:gd name="T9" fmla="*/ 751 h 6420"/>
              <a:gd name="T10" fmla="*/ 4663 w 6034"/>
              <a:gd name="T11" fmla="*/ 884 h 6420"/>
              <a:gd name="T12" fmla="*/ 4284 w 6034"/>
              <a:gd name="T13" fmla="*/ 465 h 6420"/>
              <a:gd name="T14" fmla="*/ 4151 w 6034"/>
              <a:gd name="T15" fmla="*/ 715 h 6420"/>
              <a:gd name="T16" fmla="*/ 3564 w 6034"/>
              <a:gd name="T17" fmla="*/ 699 h 6420"/>
              <a:gd name="T18" fmla="*/ 3218 w 6034"/>
              <a:gd name="T19" fmla="*/ 398 h 6420"/>
              <a:gd name="T20" fmla="*/ 2700 w 6034"/>
              <a:gd name="T21" fmla="*/ 177 h 6420"/>
              <a:gd name="T22" fmla="*/ 2329 w 6034"/>
              <a:gd name="T23" fmla="*/ 70 h 6420"/>
              <a:gd name="T24" fmla="*/ 2024 w 6034"/>
              <a:gd name="T25" fmla="*/ 315 h 6420"/>
              <a:gd name="T26" fmla="*/ 1647 w 6034"/>
              <a:gd name="T27" fmla="*/ 744 h 6420"/>
              <a:gd name="T28" fmla="*/ 1365 w 6034"/>
              <a:gd name="T29" fmla="*/ 1143 h 6420"/>
              <a:gd name="T30" fmla="*/ 1077 w 6034"/>
              <a:gd name="T31" fmla="*/ 1163 h 6420"/>
              <a:gd name="T32" fmla="*/ 851 w 6034"/>
              <a:gd name="T33" fmla="*/ 1332 h 6420"/>
              <a:gd name="T34" fmla="*/ 813 w 6034"/>
              <a:gd name="T35" fmla="*/ 1709 h 6420"/>
              <a:gd name="T36" fmla="*/ 655 w 6034"/>
              <a:gd name="T37" fmla="*/ 2096 h 6420"/>
              <a:gd name="T38" fmla="*/ 144 w 6034"/>
              <a:gd name="T39" fmla="*/ 2438 h 6420"/>
              <a:gd name="T40" fmla="*/ 35 w 6034"/>
              <a:gd name="T41" fmla="*/ 2830 h 6420"/>
              <a:gd name="T42" fmla="*/ 134 w 6034"/>
              <a:gd name="T43" fmla="*/ 3368 h 6420"/>
              <a:gd name="T44" fmla="*/ 335 w 6034"/>
              <a:gd name="T45" fmla="*/ 3645 h 6420"/>
              <a:gd name="T46" fmla="*/ 183 w 6034"/>
              <a:gd name="T47" fmla="*/ 3901 h 6420"/>
              <a:gd name="T48" fmla="*/ 73 w 6034"/>
              <a:gd name="T49" fmla="*/ 4371 h 6420"/>
              <a:gd name="T50" fmla="*/ 228 w 6034"/>
              <a:gd name="T51" fmla="*/ 4867 h 6420"/>
              <a:gd name="T52" fmla="*/ 865 w 6034"/>
              <a:gd name="T53" fmla="*/ 4677 h 6420"/>
              <a:gd name="T54" fmla="*/ 1237 w 6034"/>
              <a:gd name="T55" fmla="*/ 4597 h 6420"/>
              <a:gd name="T56" fmla="*/ 1493 w 6034"/>
              <a:gd name="T57" fmla="*/ 4481 h 6420"/>
              <a:gd name="T58" fmla="*/ 1599 w 6034"/>
              <a:gd name="T59" fmla="*/ 4860 h 6420"/>
              <a:gd name="T60" fmla="*/ 1649 w 6034"/>
              <a:gd name="T61" fmla="*/ 5268 h 6420"/>
              <a:gd name="T62" fmla="*/ 1937 w 6034"/>
              <a:gd name="T63" fmla="*/ 5279 h 6420"/>
              <a:gd name="T64" fmla="*/ 2313 w 6034"/>
              <a:gd name="T65" fmla="*/ 5205 h 6420"/>
              <a:gd name="T66" fmla="*/ 2689 w 6034"/>
              <a:gd name="T67" fmla="*/ 5201 h 6420"/>
              <a:gd name="T68" fmla="*/ 2999 w 6034"/>
              <a:gd name="T69" fmla="*/ 5539 h 6420"/>
              <a:gd name="T70" fmla="*/ 3555 w 6034"/>
              <a:gd name="T71" fmla="*/ 5102 h 6420"/>
              <a:gd name="T72" fmla="*/ 3904 w 6034"/>
              <a:gd name="T73" fmla="*/ 5310 h 6420"/>
              <a:gd name="T74" fmla="*/ 4068 w 6034"/>
              <a:gd name="T75" fmla="*/ 5037 h 6420"/>
              <a:gd name="T76" fmla="*/ 3995 w 6034"/>
              <a:gd name="T77" fmla="*/ 4435 h 6420"/>
              <a:gd name="T78" fmla="*/ 4065 w 6034"/>
              <a:gd name="T79" fmla="*/ 4338 h 6420"/>
              <a:gd name="T80" fmla="*/ 4257 w 6034"/>
              <a:gd name="T81" fmla="*/ 4360 h 6420"/>
              <a:gd name="T82" fmla="*/ 4474 w 6034"/>
              <a:gd name="T83" fmla="*/ 4564 h 6420"/>
              <a:gd name="T84" fmla="*/ 4670 w 6034"/>
              <a:gd name="T85" fmla="*/ 4635 h 6420"/>
              <a:gd name="T86" fmla="*/ 5072 w 6034"/>
              <a:gd name="T87" fmla="*/ 4629 h 6420"/>
              <a:gd name="T88" fmla="*/ 5281 w 6034"/>
              <a:gd name="T89" fmla="*/ 4467 h 6420"/>
              <a:gd name="T90" fmla="*/ 5586 w 6034"/>
              <a:gd name="T91" fmla="*/ 4433 h 6420"/>
              <a:gd name="T92" fmla="*/ 5628 w 6034"/>
              <a:gd name="T93" fmla="*/ 4195 h 6420"/>
              <a:gd name="T94" fmla="*/ 5484 w 6034"/>
              <a:gd name="T95" fmla="*/ 3906 h 6420"/>
              <a:gd name="T96" fmla="*/ 5798 w 6034"/>
              <a:gd name="T97" fmla="*/ 3818 h 6420"/>
              <a:gd name="T98" fmla="*/ 5700 w 6034"/>
              <a:gd name="T99" fmla="*/ 3222 h 6420"/>
              <a:gd name="T100" fmla="*/ 5824 w 6034"/>
              <a:gd name="T101" fmla="*/ 2923 h 6420"/>
              <a:gd name="T102" fmla="*/ 6015 w 6034"/>
              <a:gd name="T103" fmla="*/ 2524 h 6420"/>
              <a:gd name="T104" fmla="*/ 389 w 6034"/>
              <a:gd name="T105" fmla="*/ 2634 h 6420"/>
              <a:gd name="T106" fmla="*/ 446 w 6034"/>
              <a:gd name="T107" fmla="*/ 3926 h 6420"/>
              <a:gd name="T108" fmla="*/ 1745 w 6034"/>
              <a:gd name="T109" fmla="*/ 4893 h 6420"/>
              <a:gd name="T110" fmla="*/ 2087 w 6034"/>
              <a:gd name="T111" fmla="*/ 442 h 6420"/>
              <a:gd name="T112" fmla="*/ 2917 w 6034"/>
              <a:gd name="T113" fmla="*/ 4634 h 6420"/>
              <a:gd name="T114" fmla="*/ 3826 w 6034"/>
              <a:gd name="T115" fmla="*/ 783 h 6420"/>
              <a:gd name="T116" fmla="*/ 3925 w 6034"/>
              <a:gd name="T117" fmla="*/ 742 h 6420"/>
              <a:gd name="T118" fmla="*/ 4075 w 6034"/>
              <a:gd name="T119" fmla="*/ 4179 h 6420"/>
              <a:gd name="T120" fmla="*/ 4700 w 6034"/>
              <a:gd name="T121" fmla="*/ 4143 h 6420"/>
              <a:gd name="T122" fmla="*/ 5358 w 6034"/>
              <a:gd name="T123" fmla="*/ 4240 h 64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034" h="6420">
                <a:moveTo>
                  <a:pt x="1424" y="4936"/>
                </a:moveTo>
                <a:cubicBezTo>
                  <a:pt x="1438" y="4937"/>
                  <a:pt x="1442" y="4960"/>
                  <a:pt x="1457" y="4949"/>
                </a:cubicBezTo>
                <a:cubicBezTo>
                  <a:pt x="1486" y="4926"/>
                  <a:pt x="1509" y="4895"/>
                  <a:pt x="1550" y="4889"/>
                </a:cubicBezTo>
                <a:cubicBezTo>
                  <a:pt x="1550" y="4889"/>
                  <a:pt x="1550" y="4886"/>
                  <a:pt x="1550" y="4885"/>
                </a:cubicBezTo>
                <a:cubicBezTo>
                  <a:pt x="1545" y="4878"/>
                  <a:pt x="1538" y="4886"/>
                  <a:pt x="1532" y="4883"/>
                </a:cubicBezTo>
                <a:cubicBezTo>
                  <a:pt x="1541" y="4850"/>
                  <a:pt x="1539" y="4847"/>
                  <a:pt x="1505" y="4828"/>
                </a:cubicBezTo>
                <a:cubicBezTo>
                  <a:pt x="1493" y="4821"/>
                  <a:pt x="1483" y="4820"/>
                  <a:pt x="1472" y="4828"/>
                </a:cubicBezTo>
                <a:cubicBezTo>
                  <a:pt x="1461" y="4835"/>
                  <a:pt x="1462" y="4845"/>
                  <a:pt x="1467" y="4856"/>
                </a:cubicBezTo>
                <a:cubicBezTo>
                  <a:pt x="1471" y="4866"/>
                  <a:pt x="1474" y="4876"/>
                  <a:pt x="1455" y="4872"/>
                </a:cubicBezTo>
                <a:cubicBezTo>
                  <a:pt x="1449" y="4870"/>
                  <a:pt x="1441" y="4874"/>
                  <a:pt x="1431" y="4875"/>
                </a:cubicBezTo>
                <a:cubicBezTo>
                  <a:pt x="1434" y="4867"/>
                  <a:pt x="1436" y="4861"/>
                  <a:pt x="1439" y="4855"/>
                </a:cubicBezTo>
                <a:cubicBezTo>
                  <a:pt x="1442" y="4850"/>
                  <a:pt x="1448" y="4845"/>
                  <a:pt x="1441" y="4840"/>
                </a:cubicBezTo>
                <a:cubicBezTo>
                  <a:pt x="1433" y="4834"/>
                  <a:pt x="1427" y="4842"/>
                  <a:pt x="1425" y="4847"/>
                </a:cubicBezTo>
                <a:cubicBezTo>
                  <a:pt x="1412" y="4878"/>
                  <a:pt x="1380" y="4887"/>
                  <a:pt x="1356" y="4906"/>
                </a:cubicBezTo>
                <a:cubicBezTo>
                  <a:pt x="1343" y="4917"/>
                  <a:pt x="1340" y="4971"/>
                  <a:pt x="1347" y="4967"/>
                </a:cubicBezTo>
                <a:cubicBezTo>
                  <a:pt x="1368" y="4955"/>
                  <a:pt x="1389" y="4960"/>
                  <a:pt x="1411" y="4961"/>
                </a:cubicBezTo>
                <a:cubicBezTo>
                  <a:pt x="1415" y="4961"/>
                  <a:pt x="1420" y="4944"/>
                  <a:pt x="1424" y="4936"/>
                </a:cubicBezTo>
                <a:close/>
                <a:moveTo>
                  <a:pt x="1506" y="5070"/>
                </a:moveTo>
                <a:cubicBezTo>
                  <a:pt x="1493" y="5064"/>
                  <a:pt x="1475" y="5051"/>
                  <a:pt x="1467" y="5056"/>
                </a:cubicBezTo>
                <a:cubicBezTo>
                  <a:pt x="1452" y="5064"/>
                  <a:pt x="1440" y="5063"/>
                  <a:pt x="1427" y="5058"/>
                </a:cubicBezTo>
                <a:cubicBezTo>
                  <a:pt x="1414" y="5055"/>
                  <a:pt x="1403" y="5061"/>
                  <a:pt x="1401" y="5072"/>
                </a:cubicBezTo>
                <a:cubicBezTo>
                  <a:pt x="1398" y="5089"/>
                  <a:pt x="1413" y="5078"/>
                  <a:pt x="1419" y="5080"/>
                </a:cubicBezTo>
                <a:cubicBezTo>
                  <a:pt x="1425" y="5082"/>
                  <a:pt x="1430" y="5086"/>
                  <a:pt x="1430" y="5092"/>
                </a:cubicBezTo>
                <a:cubicBezTo>
                  <a:pt x="1431" y="5113"/>
                  <a:pt x="1445" y="5112"/>
                  <a:pt x="1460" y="5112"/>
                </a:cubicBezTo>
                <a:cubicBezTo>
                  <a:pt x="1471" y="5112"/>
                  <a:pt x="1484" y="5104"/>
                  <a:pt x="1491" y="5123"/>
                </a:cubicBezTo>
                <a:cubicBezTo>
                  <a:pt x="1494" y="5131"/>
                  <a:pt x="1509" y="5135"/>
                  <a:pt x="1518" y="5123"/>
                </a:cubicBezTo>
                <a:cubicBezTo>
                  <a:pt x="1526" y="5112"/>
                  <a:pt x="1527" y="5097"/>
                  <a:pt x="1531" y="5084"/>
                </a:cubicBezTo>
                <a:cubicBezTo>
                  <a:pt x="1534" y="5074"/>
                  <a:pt x="1515" y="5075"/>
                  <a:pt x="1506" y="5070"/>
                </a:cubicBezTo>
                <a:close/>
                <a:moveTo>
                  <a:pt x="6015" y="2524"/>
                </a:moveTo>
                <a:cubicBezTo>
                  <a:pt x="6005" y="2506"/>
                  <a:pt x="6005" y="2481"/>
                  <a:pt x="5980" y="2474"/>
                </a:cubicBezTo>
                <a:cubicBezTo>
                  <a:pt x="5979" y="2474"/>
                  <a:pt x="5979" y="2472"/>
                  <a:pt x="5979" y="2471"/>
                </a:cubicBezTo>
                <a:cubicBezTo>
                  <a:pt x="5994" y="2453"/>
                  <a:pt x="5977" y="2440"/>
                  <a:pt x="5973" y="2424"/>
                </a:cubicBezTo>
                <a:cubicBezTo>
                  <a:pt x="5965" y="2394"/>
                  <a:pt x="5954" y="2366"/>
                  <a:pt x="5922" y="2352"/>
                </a:cubicBezTo>
                <a:cubicBezTo>
                  <a:pt x="5913" y="2349"/>
                  <a:pt x="5901" y="2344"/>
                  <a:pt x="5898" y="2336"/>
                </a:cubicBezTo>
                <a:cubicBezTo>
                  <a:pt x="5886" y="2304"/>
                  <a:pt x="5862" y="2293"/>
                  <a:pt x="5830" y="2297"/>
                </a:cubicBezTo>
                <a:cubicBezTo>
                  <a:pt x="5806" y="2299"/>
                  <a:pt x="5788" y="2279"/>
                  <a:pt x="5763" y="2280"/>
                </a:cubicBezTo>
                <a:cubicBezTo>
                  <a:pt x="5756" y="2281"/>
                  <a:pt x="5740" y="2265"/>
                  <a:pt x="5755" y="2259"/>
                </a:cubicBezTo>
                <a:cubicBezTo>
                  <a:pt x="5781" y="2247"/>
                  <a:pt x="5765" y="2239"/>
                  <a:pt x="5757" y="2230"/>
                </a:cubicBezTo>
                <a:cubicBezTo>
                  <a:pt x="5750" y="2222"/>
                  <a:pt x="5745" y="2215"/>
                  <a:pt x="5742" y="2205"/>
                </a:cubicBezTo>
                <a:cubicBezTo>
                  <a:pt x="5740" y="2195"/>
                  <a:pt x="5733" y="2189"/>
                  <a:pt x="5723" y="2193"/>
                </a:cubicBezTo>
                <a:cubicBezTo>
                  <a:pt x="5710" y="2198"/>
                  <a:pt x="5708" y="2193"/>
                  <a:pt x="5706" y="2183"/>
                </a:cubicBezTo>
                <a:cubicBezTo>
                  <a:pt x="5704" y="2176"/>
                  <a:pt x="5701" y="2166"/>
                  <a:pt x="5691" y="2167"/>
                </a:cubicBezTo>
                <a:cubicBezTo>
                  <a:pt x="5683" y="2169"/>
                  <a:pt x="5686" y="2178"/>
                  <a:pt x="5686" y="2185"/>
                </a:cubicBezTo>
                <a:cubicBezTo>
                  <a:pt x="5686" y="2191"/>
                  <a:pt x="5652" y="2215"/>
                  <a:pt x="5646" y="2214"/>
                </a:cubicBezTo>
                <a:cubicBezTo>
                  <a:pt x="5635" y="2210"/>
                  <a:pt x="5638" y="2204"/>
                  <a:pt x="5643" y="2198"/>
                </a:cubicBezTo>
                <a:cubicBezTo>
                  <a:pt x="5651" y="2189"/>
                  <a:pt x="5650" y="2178"/>
                  <a:pt x="5646" y="2168"/>
                </a:cubicBezTo>
                <a:cubicBezTo>
                  <a:pt x="5641" y="2157"/>
                  <a:pt x="5642" y="2153"/>
                  <a:pt x="5656" y="2148"/>
                </a:cubicBezTo>
                <a:cubicBezTo>
                  <a:pt x="5664" y="2146"/>
                  <a:pt x="5685" y="2141"/>
                  <a:pt x="5676" y="2123"/>
                </a:cubicBezTo>
                <a:cubicBezTo>
                  <a:pt x="5664" y="2099"/>
                  <a:pt x="5659" y="2065"/>
                  <a:pt x="5620" y="2067"/>
                </a:cubicBezTo>
                <a:cubicBezTo>
                  <a:pt x="5629" y="2056"/>
                  <a:pt x="5644" y="2079"/>
                  <a:pt x="5647" y="2061"/>
                </a:cubicBezTo>
                <a:cubicBezTo>
                  <a:pt x="5650" y="2046"/>
                  <a:pt x="5634" y="2042"/>
                  <a:pt x="5623" y="2043"/>
                </a:cubicBezTo>
                <a:cubicBezTo>
                  <a:pt x="5604" y="2044"/>
                  <a:pt x="5593" y="2006"/>
                  <a:pt x="5570" y="2034"/>
                </a:cubicBezTo>
                <a:cubicBezTo>
                  <a:pt x="5568" y="2031"/>
                  <a:pt x="5567" y="2029"/>
                  <a:pt x="5565" y="2027"/>
                </a:cubicBezTo>
                <a:cubicBezTo>
                  <a:pt x="5558" y="2018"/>
                  <a:pt x="5551" y="2011"/>
                  <a:pt x="5541" y="2006"/>
                </a:cubicBezTo>
                <a:cubicBezTo>
                  <a:pt x="5525" y="1998"/>
                  <a:pt x="5521" y="1987"/>
                  <a:pt x="5531" y="1971"/>
                </a:cubicBezTo>
                <a:cubicBezTo>
                  <a:pt x="5543" y="1951"/>
                  <a:pt x="5565" y="1929"/>
                  <a:pt x="5562" y="1911"/>
                </a:cubicBezTo>
                <a:cubicBezTo>
                  <a:pt x="5559" y="1888"/>
                  <a:pt x="5566" y="1877"/>
                  <a:pt x="5583" y="1867"/>
                </a:cubicBezTo>
                <a:cubicBezTo>
                  <a:pt x="5580" y="1865"/>
                  <a:pt x="5579" y="1863"/>
                  <a:pt x="5577" y="1862"/>
                </a:cubicBezTo>
                <a:cubicBezTo>
                  <a:pt x="5542" y="1851"/>
                  <a:pt x="5489" y="1865"/>
                  <a:pt x="5487" y="1803"/>
                </a:cubicBezTo>
                <a:cubicBezTo>
                  <a:pt x="5487" y="1798"/>
                  <a:pt x="5478" y="1794"/>
                  <a:pt x="5473" y="1789"/>
                </a:cubicBezTo>
                <a:cubicBezTo>
                  <a:pt x="5469" y="1784"/>
                  <a:pt x="5454" y="1786"/>
                  <a:pt x="5461" y="1774"/>
                </a:cubicBezTo>
                <a:cubicBezTo>
                  <a:pt x="5467" y="1765"/>
                  <a:pt x="5477" y="1762"/>
                  <a:pt x="5486" y="1772"/>
                </a:cubicBezTo>
                <a:cubicBezTo>
                  <a:pt x="5492" y="1778"/>
                  <a:pt x="5497" y="1783"/>
                  <a:pt x="5506" y="1777"/>
                </a:cubicBezTo>
                <a:cubicBezTo>
                  <a:pt x="5527" y="1761"/>
                  <a:pt x="5524" y="1776"/>
                  <a:pt x="5523" y="1791"/>
                </a:cubicBezTo>
                <a:cubicBezTo>
                  <a:pt x="5522" y="1807"/>
                  <a:pt x="5528" y="1813"/>
                  <a:pt x="5533" y="1807"/>
                </a:cubicBezTo>
                <a:cubicBezTo>
                  <a:pt x="5541" y="1796"/>
                  <a:pt x="5561" y="1798"/>
                  <a:pt x="5558" y="1779"/>
                </a:cubicBezTo>
                <a:cubicBezTo>
                  <a:pt x="5569" y="1784"/>
                  <a:pt x="5561" y="1814"/>
                  <a:pt x="5576" y="1799"/>
                </a:cubicBezTo>
                <a:cubicBezTo>
                  <a:pt x="5590" y="1783"/>
                  <a:pt x="5605" y="1765"/>
                  <a:pt x="5620" y="1749"/>
                </a:cubicBezTo>
                <a:cubicBezTo>
                  <a:pt x="5635" y="1733"/>
                  <a:pt x="5646" y="1698"/>
                  <a:pt x="5679" y="1727"/>
                </a:cubicBezTo>
                <a:cubicBezTo>
                  <a:pt x="5683" y="1731"/>
                  <a:pt x="5687" y="1726"/>
                  <a:pt x="5691" y="1723"/>
                </a:cubicBezTo>
                <a:cubicBezTo>
                  <a:pt x="5712" y="1710"/>
                  <a:pt x="5713" y="1698"/>
                  <a:pt x="5692" y="1676"/>
                </a:cubicBezTo>
                <a:cubicBezTo>
                  <a:pt x="5680" y="1664"/>
                  <a:pt x="5682" y="1659"/>
                  <a:pt x="5697" y="1655"/>
                </a:cubicBezTo>
                <a:cubicBezTo>
                  <a:pt x="5718" y="1649"/>
                  <a:pt x="5720" y="1637"/>
                  <a:pt x="5715" y="1617"/>
                </a:cubicBezTo>
                <a:cubicBezTo>
                  <a:pt x="5711" y="1601"/>
                  <a:pt x="5705" y="1585"/>
                  <a:pt x="5716" y="1566"/>
                </a:cubicBezTo>
                <a:cubicBezTo>
                  <a:pt x="5733" y="1535"/>
                  <a:pt x="5728" y="1497"/>
                  <a:pt x="5726" y="1465"/>
                </a:cubicBezTo>
                <a:cubicBezTo>
                  <a:pt x="5724" y="1444"/>
                  <a:pt x="5703" y="1422"/>
                  <a:pt x="5695" y="1395"/>
                </a:cubicBezTo>
                <a:cubicBezTo>
                  <a:pt x="5686" y="1360"/>
                  <a:pt x="5650" y="1352"/>
                  <a:pt x="5616" y="1359"/>
                </a:cubicBezTo>
                <a:cubicBezTo>
                  <a:pt x="5588" y="1366"/>
                  <a:pt x="5588" y="1346"/>
                  <a:pt x="5585" y="1329"/>
                </a:cubicBezTo>
                <a:cubicBezTo>
                  <a:pt x="5581" y="1307"/>
                  <a:pt x="5601" y="1300"/>
                  <a:pt x="5616" y="1286"/>
                </a:cubicBezTo>
                <a:cubicBezTo>
                  <a:pt x="5597" y="1279"/>
                  <a:pt x="5580" y="1272"/>
                  <a:pt x="5565" y="1268"/>
                </a:cubicBezTo>
                <a:cubicBezTo>
                  <a:pt x="5537" y="1260"/>
                  <a:pt x="5550" y="1299"/>
                  <a:pt x="5531" y="1307"/>
                </a:cubicBezTo>
                <a:cubicBezTo>
                  <a:pt x="5527" y="1309"/>
                  <a:pt x="5525" y="1316"/>
                  <a:pt x="5519" y="1319"/>
                </a:cubicBezTo>
                <a:cubicBezTo>
                  <a:pt x="5503" y="1327"/>
                  <a:pt x="5489" y="1328"/>
                  <a:pt x="5482" y="1308"/>
                </a:cubicBezTo>
                <a:cubicBezTo>
                  <a:pt x="5476" y="1291"/>
                  <a:pt x="5464" y="1284"/>
                  <a:pt x="5447" y="1281"/>
                </a:cubicBezTo>
                <a:cubicBezTo>
                  <a:pt x="5437" y="1279"/>
                  <a:pt x="5421" y="1276"/>
                  <a:pt x="5423" y="1265"/>
                </a:cubicBezTo>
                <a:cubicBezTo>
                  <a:pt x="5428" y="1226"/>
                  <a:pt x="5403" y="1237"/>
                  <a:pt x="5383" y="1237"/>
                </a:cubicBezTo>
                <a:cubicBezTo>
                  <a:pt x="5375" y="1238"/>
                  <a:pt x="5367" y="1238"/>
                  <a:pt x="5360" y="1236"/>
                </a:cubicBezTo>
                <a:cubicBezTo>
                  <a:pt x="5346" y="1234"/>
                  <a:pt x="5344" y="1223"/>
                  <a:pt x="5346" y="1212"/>
                </a:cubicBezTo>
                <a:cubicBezTo>
                  <a:pt x="5348" y="1200"/>
                  <a:pt x="5352" y="1194"/>
                  <a:pt x="5366" y="1198"/>
                </a:cubicBezTo>
                <a:cubicBezTo>
                  <a:pt x="5376" y="1201"/>
                  <a:pt x="5387" y="1199"/>
                  <a:pt x="5398" y="1199"/>
                </a:cubicBezTo>
                <a:cubicBezTo>
                  <a:pt x="5403" y="1199"/>
                  <a:pt x="5412" y="1199"/>
                  <a:pt x="5409" y="1191"/>
                </a:cubicBezTo>
                <a:cubicBezTo>
                  <a:pt x="5401" y="1169"/>
                  <a:pt x="5423" y="1159"/>
                  <a:pt x="5424" y="1142"/>
                </a:cubicBezTo>
                <a:cubicBezTo>
                  <a:pt x="5435" y="1147"/>
                  <a:pt x="5431" y="1165"/>
                  <a:pt x="5444" y="1161"/>
                </a:cubicBezTo>
                <a:cubicBezTo>
                  <a:pt x="5454" y="1159"/>
                  <a:pt x="5448" y="1146"/>
                  <a:pt x="5453" y="1136"/>
                </a:cubicBezTo>
                <a:cubicBezTo>
                  <a:pt x="5460" y="1162"/>
                  <a:pt x="5481" y="1148"/>
                  <a:pt x="5488" y="1144"/>
                </a:cubicBezTo>
                <a:cubicBezTo>
                  <a:pt x="5515" y="1128"/>
                  <a:pt x="5479" y="1108"/>
                  <a:pt x="5487" y="1086"/>
                </a:cubicBezTo>
                <a:cubicBezTo>
                  <a:pt x="5496" y="1097"/>
                  <a:pt x="5503" y="1106"/>
                  <a:pt x="5510" y="1114"/>
                </a:cubicBezTo>
                <a:cubicBezTo>
                  <a:pt x="5516" y="1121"/>
                  <a:pt x="5523" y="1130"/>
                  <a:pt x="5532" y="1125"/>
                </a:cubicBezTo>
                <a:cubicBezTo>
                  <a:pt x="5543" y="1118"/>
                  <a:pt x="5536" y="1107"/>
                  <a:pt x="5532" y="1099"/>
                </a:cubicBezTo>
                <a:cubicBezTo>
                  <a:pt x="5530" y="1094"/>
                  <a:pt x="5527" y="1090"/>
                  <a:pt x="5524" y="1086"/>
                </a:cubicBezTo>
                <a:cubicBezTo>
                  <a:pt x="5513" y="1073"/>
                  <a:pt x="5509" y="1061"/>
                  <a:pt x="5528" y="1056"/>
                </a:cubicBezTo>
                <a:cubicBezTo>
                  <a:pt x="5504" y="1025"/>
                  <a:pt x="5472" y="1000"/>
                  <a:pt x="5460" y="961"/>
                </a:cubicBezTo>
                <a:cubicBezTo>
                  <a:pt x="5452" y="937"/>
                  <a:pt x="5432" y="934"/>
                  <a:pt x="5413" y="937"/>
                </a:cubicBezTo>
                <a:cubicBezTo>
                  <a:pt x="5399" y="939"/>
                  <a:pt x="5389" y="952"/>
                  <a:pt x="5393" y="972"/>
                </a:cubicBezTo>
                <a:cubicBezTo>
                  <a:pt x="5397" y="989"/>
                  <a:pt x="5358" y="1034"/>
                  <a:pt x="5335" y="1042"/>
                </a:cubicBezTo>
                <a:cubicBezTo>
                  <a:pt x="5343" y="1033"/>
                  <a:pt x="5350" y="1025"/>
                  <a:pt x="5357" y="1017"/>
                </a:cubicBezTo>
                <a:cubicBezTo>
                  <a:pt x="5361" y="1013"/>
                  <a:pt x="5367" y="1010"/>
                  <a:pt x="5363" y="1003"/>
                </a:cubicBezTo>
                <a:cubicBezTo>
                  <a:pt x="5359" y="997"/>
                  <a:pt x="5353" y="996"/>
                  <a:pt x="5348" y="1000"/>
                </a:cubicBezTo>
                <a:cubicBezTo>
                  <a:pt x="5335" y="1008"/>
                  <a:pt x="5324" y="1015"/>
                  <a:pt x="5316" y="995"/>
                </a:cubicBezTo>
                <a:cubicBezTo>
                  <a:pt x="5314" y="990"/>
                  <a:pt x="5305" y="990"/>
                  <a:pt x="5300" y="992"/>
                </a:cubicBezTo>
                <a:cubicBezTo>
                  <a:pt x="5288" y="997"/>
                  <a:pt x="5283" y="992"/>
                  <a:pt x="5279" y="980"/>
                </a:cubicBezTo>
                <a:cubicBezTo>
                  <a:pt x="5274" y="960"/>
                  <a:pt x="5260" y="956"/>
                  <a:pt x="5244" y="970"/>
                </a:cubicBezTo>
                <a:cubicBezTo>
                  <a:pt x="5224" y="988"/>
                  <a:pt x="5216" y="977"/>
                  <a:pt x="5211" y="958"/>
                </a:cubicBezTo>
                <a:cubicBezTo>
                  <a:pt x="5209" y="950"/>
                  <a:pt x="5210" y="942"/>
                  <a:pt x="5210" y="936"/>
                </a:cubicBezTo>
                <a:cubicBezTo>
                  <a:pt x="5208" y="920"/>
                  <a:pt x="5226" y="895"/>
                  <a:pt x="5193" y="889"/>
                </a:cubicBezTo>
                <a:cubicBezTo>
                  <a:pt x="5189" y="888"/>
                  <a:pt x="5185" y="883"/>
                  <a:pt x="5189" y="878"/>
                </a:cubicBezTo>
                <a:cubicBezTo>
                  <a:pt x="5195" y="870"/>
                  <a:pt x="5200" y="862"/>
                  <a:pt x="5191" y="855"/>
                </a:cubicBezTo>
                <a:cubicBezTo>
                  <a:pt x="5182" y="848"/>
                  <a:pt x="5173" y="851"/>
                  <a:pt x="5164" y="856"/>
                </a:cubicBezTo>
                <a:cubicBezTo>
                  <a:pt x="5152" y="863"/>
                  <a:pt x="5105" y="849"/>
                  <a:pt x="5104" y="838"/>
                </a:cubicBezTo>
                <a:cubicBezTo>
                  <a:pt x="5099" y="806"/>
                  <a:pt x="5087" y="778"/>
                  <a:pt x="5071" y="751"/>
                </a:cubicBezTo>
                <a:cubicBezTo>
                  <a:pt x="5071" y="751"/>
                  <a:pt x="5073" y="748"/>
                  <a:pt x="5075" y="746"/>
                </a:cubicBezTo>
                <a:cubicBezTo>
                  <a:pt x="5087" y="750"/>
                  <a:pt x="5110" y="783"/>
                  <a:pt x="5107" y="736"/>
                </a:cubicBezTo>
                <a:cubicBezTo>
                  <a:pt x="5106" y="730"/>
                  <a:pt x="5116" y="732"/>
                  <a:pt x="5122" y="733"/>
                </a:cubicBezTo>
                <a:cubicBezTo>
                  <a:pt x="5127" y="733"/>
                  <a:pt x="5134" y="738"/>
                  <a:pt x="5136" y="730"/>
                </a:cubicBezTo>
                <a:cubicBezTo>
                  <a:pt x="5138" y="724"/>
                  <a:pt x="5133" y="719"/>
                  <a:pt x="5129" y="715"/>
                </a:cubicBezTo>
                <a:cubicBezTo>
                  <a:pt x="5118" y="703"/>
                  <a:pt x="5102" y="699"/>
                  <a:pt x="5085" y="696"/>
                </a:cubicBezTo>
                <a:cubicBezTo>
                  <a:pt x="5106" y="663"/>
                  <a:pt x="5105" y="663"/>
                  <a:pt x="5068" y="649"/>
                </a:cubicBezTo>
                <a:cubicBezTo>
                  <a:pt x="5050" y="642"/>
                  <a:pt x="5038" y="644"/>
                  <a:pt x="5030" y="662"/>
                </a:cubicBezTo>
                <a:cubicBezTo>
                  <a:pt x="5021" y="684"/>
                  <a:pt x="5051" y="666"/>
                  <a:pt x="5049" y="684"/>
                </a:cubicBezTo>
                <a:cubicBezTo>
                  <a:pt x="5033" y="695"/>
                  <a:pt x="5019" y="687"/>
                  <a:pt x="5004" y="677"/>
                </a:cubicBezTo>
                <a:cubicBezTo>
                  <a:pt x="4978" y="661"/>
                  <a:pt x="4964" y="668"/>
                  <a:pt x="4961" y="697"/>
                </a:cubicBezTo>
                <a:cubicBezTo>
                  <a:pt x="4960" y="704"/>
                  <a:pt x="4957" y="711"/>
                  <a:pt x="4956" y="717"/>
                </a:cubicBezTo>
                <a:cubicBezTo>
                  <a:pt x="4953" y="737"/>
                  <a:pt x="4929" y="762"/>
                  <a:pt x="4968" y="774"/>
                </a:cubicBezTo>
                <a:cubicBezTo>
                  <a:pt x="4974" y="776"/>
                  <a:pt x="4986" y="785"/>
                  <a:pt x="4979" y="794"/>
                </a:cubicBezTo>
                <a:cubicBezTo>
                  <a:pt x="4974" y="802"/>
                  <a:pt x="4962" y="802"/>
                  <a:pt x="4952" y="802"/>
                </a:cubicBezTo>
                <a:cubicBezTo>
                  <a:pt x="4944" y="803"/>
                  <a:pt x="4936" y="800"/>
                  <a:pt x="4932" y="790"/>
                </a:cubicBezTo>
                <a:cubicBezTo>
                  <a:pt x="4915" y="756"/>
                  <a:pt x="4868" y="749"/>
                  <a:pt x="4839" y="775"/>
                </a:cubicBezTo>
                <a:cubicBezTo>
                  <a:pt x="4829" y="784"/>
                  <a:pt x="4819" y="793"/>
                  <a:pt x="4803" y="789"/>
                </a:cubicBezTo>
                <a:cubicBezTo>
                  <a:pt x="4788" y="785"/>
                  <a:pt x="4772" y="781"/>
                  <a:pt x="4783" y="808"/>
                </a:cubicBezTo>
                <a:cubicBezTo>
                  <a:pt x="4786" y="816"/>
                  <a:pt x="4776" y="818"/>
                  <a:pt x="4766" y="818"/>
                </a:cubicBezTo>
                <a:cubicBezTo>
                  <a:pt x="4747" y="816"/>
                  <a:pt x="4722" y="820"/>
                  <a:pt x="4719" y="837"/>
                </a:cubicBezTo>
                <a:cubicBezTo>
                  <a:pt x="4712" y="871"/>
                  <a:pt x="4700" y="862"/>
                  <a:pt x="4681" y="850"/>
                </a:cubicBezTo>
                <a:cubicBezTo>
                  <a:pt x="4669" y="843"/>
                  <a:pt x="4655" y="847"/>
                  <a:pt x="4648" y="860"/>
                </a:cubicBezTo>
                <a:cubicBezTo>
                  <a:pt x="4641" y="874"/>
                  <a:pt x="4655" y="878"/>
                  <a:pt x="4663" y="884"/>
                </a:cubicBezTo>
                <a:cubicBezTo>
                  <a:pt x="4675" y="892"/>
                  <a:pt x="4688" y="899"/>
                  <a:pt x="4704" y="894"/>
                </a:cubicBezTo>
                <a:cubicBezTo>
                  <a:pt x="4714" y="892"/>
                  <a:pt x="4725" y="893"/>
                  <a:pt x="4728" y="908"/>
                </a:cubicBezTo>
                <a:cubicBezTo>
                  <a:pt x="4701" y="898"/>
                  <a:pt x="4676" y="896"/>
                  <a:pt x="4653" y="910"/>
                </a:cubicBezTo>
                <a:cubicBezTo>
                  <a:pt x="4626" y="926"/>
                  <a:pt x="4615" y="912"/>
                  <a:pt x="4604" y="891"/>
                </a:cubicBezTo>
                <a:cubicBezTo>
                  <a:pt x="4615" y="885"/>
                  <a:pt x="4629" y="903"/>
                  <a:pt x="4634" y="888"/>
                </a:cubicBezTo>
                <a:cubicBezTo>
                  <a:pt x="4638" y="876"/>
                  <a:pt x="4626" y="865"/>
                  <a:pt x="4616" y="857"/>
                </a:cubicBezTo>
                <a:cubicBezTo>
                  <a:pt x="4607" y="851"/>
                  <a:pt x="4594" y="849"/>
                  <a:pt x="4588" y="837"/>
                </a:cubicBezTo>
                <a:cubicBezTo>
                  <a:pt x="4591" y="829"/>
                  <a:pt x="4609" y="829"/>
                  <a:pt x="4604" y="817"/>
                </a:cubicBezTo>
                <a:cubicBezTo>
                  <a:pt x="4600" y="805"/>
                  <a:pt x="4588" y="809"/>
                  <a:pt x="4579" y="810"/>
                </a:cubicBezTo>
                <a:cubicBezTo>
                  <a:pt x="4570" y="811"/>
                  <a:pt x="4566" y="810"/>
                  <a:pt x="4561" y="801"/>
                </a:cubicBezTo>
                <a:cubicBezTo>
                  <a:pt x="4553" y="789"/>
                  <a:pt x="4541" y="776"/>
                  <a:pt x="4535" y="804"/>
                </a:cubicBezTo>
                <a:cubicBezTo>
                  <a:pt x="4534" y="813"/>
                  <a:pt x="4531" y="817"/>
                  <a:pt x="4523" y="810"/>
                </a:cubicBezTo>
                <a:cubicBezTo>
                  <a:pt x="4515" y="802"/>
                  <a:pt x="4504" y="805"/>
                  <a:pt x="4494" y="800"/>
                </a:cubicBezTo>
                <a:cubicBezTo>
                  <a:pt x="4463" y="785"/>
                  <a:pt x="4442" y="795"/>
                  <a:pt x="4435" y="824"/>
                </a:cubicBezTo>
                <a:cubicBezTo>
                  <a:pt x="4428" y="820"/>
                  <a:pt x="4431" y="811"/>
                  <a:pt x="4428" y="806"/>
                </a:cubicBezTo>
                <a:cubicBezTo>
                  <a:pt x="4412" y="786"/>
                  <a:pt x="4430" y="750"/>
                  <a:pt x="4399" y="737"/>
                </a:cubicBezTo>
                <a:cubicBezTo>
                  <a:pt x="4379" y="730"/>
                  <a:pt x="4378" y="714"/>
                  <a:pt x="4384" y="700"/>
                </a:cubicBezTo>
                <a:cubicBezTo>
                  <a:pt x="4393" y="682"/>
                  <a:pt x="4381" y="676"/>
                  <a:pt x="4371" y="676"/>
                </a:cubicBezTo>
                <a:cubicBezTo>
                  <a:pt x="4344" y="677"/>
                  <a:pt x="4342" y="657"/>
                  <a:pt x="4345" y="642"/>
                </a:cubicBezTo>
                <a:cubicBezTo>
                  <a:pt x="4348" y="622"/>
                  <a:pt x="4341" y="608"/>
                  <a:pt x="4331" y="592"/>
                </a:cubicBezTo>
                <a:cubicBezTo>
                  <a:pt x="4342" y="591"/>
                  <a:pt x="4357" y="607"/>
                  <a:pt x="4361" y="590"/>
                </a:cubicBezTo>
                <a:cubicBezTo>
                  <a:pt x="4364" y="578"/>
                  <a:pt x="4352" y="570"/>
                  <a:pt x="4341" y="565"/>
                </a:cubicBezTo>
                <a:cubicBezTo>
                  <a:pt x="4328" y="559"/>
                  <a:pt x="4316" y="558"/>
                  <a:pt x="4301" y="569"/>
                </a:cubicBezTo>
                <a:cubicBezTo>
                  <a:pt x="4323" y="526"/>
                  <a:pt x="4314" y="480"/>
                  <a:pt x="4284" y="465"/>
                </a:cubicBezTo>
                <a:cubicBezTo>
                  <a:pt x="4270" y="457"/>
                  <a:pt x="4254" y="453"/>
                  <a:pt x="4244" y="472"/>
                </a:cubicBezTo>
                <a:cubicBezTo>
                  <a:pt x="4237" y="487"/>
                  <a:pt x="4231" y="489"/>
                  <a:pt x="4225" y="475"/>
                </a:cubicBezTo>
                <a:cubicBezTo>
                  <a:pt x="4218" y="458"/>
                  <a:pt x="4196" y="456"/>
                  <a:pt x="4193" y="434"/>
                </a:cubicBezTo>
                <a:cubicBezTo>
                  <a:pt x="4193" y="427"/>
                  <a:pt x="4173" y="417"/>
                  <a:pt x="4163" y="434"/>
                </a:cubicBezTo>
                <a:cubicBezTo>
                  <a:pt x="4158" y="443"/>
                  <a:pt x="4149" y="446"/>
                  <a:pt x="4141" y="450"/>
                </a:cubicBezTo>
                <a:cubicBezTo>
                  <a:pt x="4124" y="458"/>
                  <a:pt x="4113" y="475"/>
                  <a:pt x="4123" y="490"/>
                </a:cubicBezTo>
                <a:cubicBezTo>
                  <a:pt x="4134" y="507"/>
                  <a:pt x="4145" y="487"/>
                  <a:pt x="4155" y="481"/>
                </a:cubicBezTo>
                <a:cubicBezTo>
                  <a:pt x="4159" y="478"/>
                  <a:pt x="4161" y="472"/>
                  <a:pt x="4167" y="476"/>
                </a:cubicBezTo>
                <a:cubicBezTo>
                  <a:pt x="4172" y="481"/>
                  <a:pt x="4174" y="487"/>
                  <a:pt x="4169" y="492"/>
                </a:cubicBezTo>
                <a:cubicBezTo>
                  <a:pt x="4159" y="502"/>
                  <a:pt x="4155" y="515"/>
                  <a:pt x="4152" y="529"/>
                </a:cubicBezTo>
                <a:cubicBezTo>
                  <a:pt x="4149" y="541"/>
                  <a:pt x="4144" y="559"/>
                  <a:pt x="4157" y="562"/>
                </a:cubicBezTo>
                <a:cubicBezTo>
                  <a:pt x="4171" y="566"/>
                  <a:pt x="4170" y="547"/>
                  <a:pt x="4172" y="537"/>
                </a:cubicBezTo>
                <a:cubicBezTo>
                  <a:pt x="4175" y="518"/>
                  <a:pt x="4191" y="518"/>
                  <a:pt x="4203" y="520"/>
                </a:cubicBezTo>
                <a:cubicBezTo>
                  <a:pt x="4217" y="522"/>
                  <a:pt x="4215" y="538"/>
                  <a:pt x="4212" y="547"/>
                </a:cubicBezTo>
                <a:cubicBezTo>
                  <a:pt x="4207" y="561"/>
                  <a:pt x="4203" y="580"/>
                  <a:pt x="4188" y="585"/>
                </a:cubicBezTo>
                <a:cubicBezTo>
                  <a:pt x="4159" y="593"/>
                  <a:pt x="4161" y="615"/>
                  <a:pt x="4162" y="636"/>
                </a:cubicBezTo>
                <a:cubicBezTo>
                  <a:pt x="4162" y="642"/>
                  <a:pt x="4160" y="651"/>
                  <a:pt x="4169" y="652"/>
                </a:cubicBezTo>
                <a:cubicBezTo>
                  <a:pt x="4177" y="653"/>
                  <a:pt x="4187" y="650"/>
                  <a:pt x="4188" y="642"/>
                </a:cubicBezTo>
                <a:cubicBezTo>
                  <a:pt x="4190" y="630"/>
                  <a:pt x="4192" y="620"/>
                  <a:pt x="4206" y="620"/>
                </a:cubicBezTo>
                <a:cubicBezTo>
                  <a:pt x="4222" y="620"/>
                  <a:pt x="4216" y="635"/>
                  <a:pt x="4220" y="644"/>
                </a:cubicBezTo>
                <a:cubicBezTo>
                  <a:pt x="4222" y="647"/>
                  <a:pt x="4229" y="650"/>
                  <a:pt x="4225" y="656"/>
                </a:cubicBezTo>
                <a:cubicBezTo>
                  <a:pt x="4188" y="657"/>
                  <a:pt x="4174" y="669"/>
                  <a:pt x="4169" y="713"/>
                </a:cubicBezTo>
                <a:cubicBezTo>
                  <a:pt x="4168" y="723"/>
                  <a:pt x="4166" y="721"/>
                  <a:pt x="4162" y="720"/>
                </a:cubicBezTo>
                <a:cubicBezTo>
                  <a:pt x="4159" y="718"/>
                  <a:pt x="4152" y="728"/>
                  <a:pt x="4151" y="715"/>
                </a:cubicBezTo>
                <a:cubicBezTo>
                  <a:pt x="4149" y="687"/>
                  <a:pt x="4131" y="666"/>
                  <a:pt x="4119" y="642"/>
                </a:cubicBezTo>
                <a:cubicBezTo>
                  <a:pt x="4108" y="620"/>
                  <a:pt x="4087" y="613"/>
                  <a:pt x="4065" y="620"/>
                </a:cubicBezTo>
                <a:cubicBezTo>
                  <a:pt x="4042" y="626"/>
                  <a:pt x="4030" y="631"/>
                  <a:pt x="4013" y="603"/>
                </a:cubicBezTo>
                <a:cubicBezTo>
                  <a:pt x="4000" y="581"/>
                  <a:pt x="4001" y="579"/>
                  <a:pt x="4026" y="573"/>
                </a:cubicBezTo>
                <a:cubicBezTo>
                  <a:pt x="3999" y="566"/>
                  <a:pt x="3979" y="554"/>
                  <a:pt x="3963" y="536"/>
                </a:cubicBezTo>
                <a:cubicBezTo>
                  <a:pt x="3962" y="535"/>
                  <a:pt x="3959" y="535"/>
                  <a:pt x="3957" y="534"/>
                </a:cubicBezTo>
                <a:cubicBezTo>
                  <a:pt x="3951" y="531"/>
                  <a:pt x="3943" y="530"/>
                  <a:pt x="3939" y="537"/>
                </a:cubicBezTo>
                <a:cubicBezTo>
                  <a:pt x="3935" y="544"/>
                  <a:pt x="3941" y="547"/>
                  <a:pt x="3946" y="550"/>
                </a:cubicBezTo>
                <a:cubicBezTo>
                  <a:pt x="3951" y="553"/>
                  <a:pt x="3952" y="556"/>
                  <a:pt x="3950" y="562"/>
                </a:cubicBezTo>
                <a:cubicBezTo>
                  <a:pt x="3948" y="569"/>
                  <a:pt x="3942" y="569"/>
                  <a:pt x="3936" y="569"/>
                </a:cubicBezTo>
                <a:cubicBezTo>
                  <a:pt x="3912" y="568"/>
                  <a:pt x="3926" y="552"/>
                  <a:pt x="3926" y="542"/>
                </a:cubicBezTo>
                <a:cubicBezTo>
                  <a:pt x="3927" y="534"/>
                  <a:pt x="3938" y="519"/>
                  <a:pt x="3925" y="520"/>
                </a:cubicBezTo>
                <a:cubicBezTo>
                  <a:pt x="3909" y="521"/>
                  <a:pt x="3893" y="514"/>
                  <a:pt x="3879" y="522"/>
                </a:cubicBezTo>
                <a:cubicBezTo>
                  <a:pt x="3853" y="537"/>
                  <a:pt x="3824" y="509"/>
                  <a:pt x="3799" y="530"/>
                </a:cubicBezTo>
                <a:cubicBezTo>
                  <a:pt x="3798" y="531"/>
                  <a:pt x="3790" y="526"/>
                  <a:pt x="3788" y="522"/>
                </a:cubicBezTo>
                <a:cubicBezTo>
                  <a:pt x="3772" y="499"/>
                  <a:pt x="3758" y="504"/>
                  <a:pt x="3746" y="525"/>
                </a:cubicBezTo>
                <a:cubicBezTo>
                  <a:pt x="3739" y="539"/>
                  <a:pt x="3713" y="545"/>
                  <a:pt x="3728" y="569"/>
                </a:cubicBezTo>
                <a:cubicBezTo>
                  <a:pt x="3731" y="573"/>
                  <a:pt x="3726" y="576"/>
                  <a:pt x="3722" y="577"/>
                </a:cubicBezTo>
                <a:cubicBezTo>
                  <a:pt x="3695" y="584"/>
                  <a:pt x="3699" y="607"/>
                  <a:pt x="3697" y="628"/>
                </a:cubicBezTo>
                <a:cubicBezTo>
                  <a:pt x="3696" y="637"/>
                  <a:pt x="3698" y="652"/>
                  <a:pt x="3688" y="652"/>
                </a:cubicBezTo>
                <a:cubicBezTo>
                  <a:pt x="3678" y="652"/>
                  <a:pt x="3667" y="666"/>
                  <a:pt x="3655" y="650"/>
                </a:cubicBezTo>
                <a:cubicBezTo>
                  <a:pt x="3646" y="638"/>
                  <a:pt x="3631" y="635"/>
                  <a:pt x="3627" y="658"/>
                </a:cubicBezTo>
                <a:cubicBezTo>
                  <a:pt x="3626" y="666"/>
                  <a:pt x="3623" y="676"/>
                  <a:pt x="3613" y="674"/>
                </a:cubicBezTo>
                <a:cubicBezTo>
                  <a:pt x="3590" y="669"/>
                  <a:pt x="3577" y="688"/>
                  <a:pt x="3564" y="699"/>
                </a:cubicBezTo>
                <a:cubicBezTo>
                  <a:pt x="3534" y="725"/>
                  <a:pt x="3534" y="755"/>
                  <a:pt x="3562" y="766"/>
                </a:cubicBezTo>
                <a:cubicBezTo>
                  <a:pt x="3558" y="771"/>
                  <a:pt x="3553" y="770"/>
                  <a:pt x="3549" y="768"/>
                </a:cubicBezTo>
                <a:cubicBezTo>
                  <a:pt x="3514" y="755"/>
                  <a:pt x="3480" y="745"/>
                  <a:pt x="3442" y="749"/>
                </a:cubicBezTo>
                <a:cubicBezTo>
                  <a:pt x="3429" y="750"/>
                  <a:pt x="3408" y="751"/>
                  <a:pt x="3401" y="738"/>
                </a:cubicBezTo>
                <a:cubicBezTo>
                  <a:pt x="3382" y="700"/>
                  <a:pt x="3355" y="719"/>
                  <a:pt x="3333" y="729"/>
                </a:cubicBezTo>
                <a:cubicBezTo>
                  <a:pt x="3319" y="736"/>
                  <a:pt x="3295" y="743"/>
                  <a:pt x="3298" y="766"/>
                </a:cubicBezTo>
                <a:cubicBezTo>
                  <a:pt x="3300" y="785"/>
                  <a:pt x="3301" y="797"/>
                  <a:pt x="3279" y="804"/>
                </a:cubicBezTo>
                <a:cubicBezTo>
                  <a:pt x="3272" y="807"/>
                  <a:pt x="3267" y="818"/>
                  <a:pt x="3257" y="811"/>
                </a:cubicBezTo>
                <a:cubicBezTo>
                  <a:pt x="3240" y="798"/>
                  <a:pt x="3257" y="778"/>
                  <a:pt x="3249" y="762"/>
                </a:cubicBezTo>
                <a:cubicBezTo>
                  <a:pt x="3245" y="754"/>
                  <a:pt x="3259" y="757"/>
                  <a:pt x="3264" y="755"/>
                </a:cubicBezTo>
                <a:cubicBezTo>
                  <a:pt x="3271" y="753"/>
                  <a:pt x="3282" y="758"/>
                  <a:pt x="3282" y="746"/>
                </a:cubicBezTo>
                <a:cubicBezTo>
                  <a:pt x="3282" y="722"/>
                  <a:pt x="3254" y="702"/>
                  <a:pt x="3227" y="703"/>
                </a:cubicBezTo>
                <a:cubicBezTo>
                  <a:pt x="3245" y="701"/>
                  <a:pt x="3248" y="687"/>
                  <a:pt x="3246" y="675"/>
                </a:cubicBezTo>
                <a:cubicBezTo>
                  <a:pt x="3242" y="649"/>
                  <a:pt x="3266" y="629"/>
                  <a:pt x="3259" y="604"/>
                </a:cubicBezTo>
                <a:cubicBezTo>
                  <a:pt x="3258" y="599"/>
                  <a:pt x="3262" y="595"/>
                  <a:pt x="3267" y="592"/>
                </a:cubicBezTo>
                <a:cubicBezTo>
                  <a:pt x="3287" y="579"/>
                  <a:pt x="3286" y="566"/>
                  <a:pt x="3265" y="551"/>
                </a:cubicBezTo>
                <a:cubicBezTo>
                  <a:pt x="3257" y="547"/>
                  <a:pt x="3242" y="547"/>
                  <a:pt x="3243" y="539"/>
                </a:cubicBezTo>
                <a:cubicBezTo>
                  <a:pt x="3246" y="510"/>
                  <a:pt x="3225" y="513"/>
                  <a:pt x="3208" y="509"/>
                </a:cubicBezTo>
                <a:cubicBezTo>
                  <a:pt x="3191" y="504"/>
                  <a:pt x="3182" y="494"/>
                  <a:pt x="3195" y="477"/>
                </a:cubicBezTo>
                <a:cubicBezTo>
                  <a:pt x="3200" y="471"/>
                  <a:pt x="3202" y="466"/>
                  <a:pt x="3202" y="459"/>
                </a:cubicBezTo>
                <a:cubicBezTo>
                  <a:pt x="3202" y="452"/>
                  <a:pt x="3204" y="450"/>
                  <a:pt x="3210" y="455"/>
                </a:cubicBezTo>
                <a:cubicBezTo>
                  <a:pt x="3215" y="460"/>
                  <a:pt x="3220" y="466"/>
                  <a:pt x="3227" y="459"/>
                </a:cubicBezTo>
                <a:cubicBezTo>
                  <a:pt x="3233" y="453"/>
                  <a:pt x="3231" y="444"/>
                  <a:pt x="3229" y="437"/>
                </a:cubicBezTo>
                <a:cubicBezTo>
                  <a:pt x="3223" y="424"/>
                  <a:pt x="3214" y="412"/>
                  <a:pt x="3218" y="398"/>
                </a:cubicBezTo>
                <a:cubicBezTo>
                  <a:pt x="3227" y="364"/>
                  <a:pt x="3198" y="360"/>
                  <a:pt x="3179" y="352"/>
                </a:cubicBezTo>
                <a:cubicBezTo>
                  <a:pt x="3159" y="343"/>
                  <a:pt x="3139" y="343"/>
                  <a:pt x="3126" y="365"/>
                </a:cubicBezTo>
                <a:cubicBezTo>
                  <a:pt x="3123" y="369"/>
                  <a:pt x="3122" y="376"/>
                  <a:pt x="3114" y="377"/>
                </a:cubicBezTo>
                <a:cubicBezTo>
                  <a:pt x="3094" y="378"/>
                  <a:pt x="3057" y="335"/>
                  <a:pt x="3057" y="313"/>
                </a:cubicBezTo>
                <a:cubicBezTo>
                  <a:pt x="3058" y="277"/>
                  <a:pt x="3081" y="231"/>
                  <a:pt x="3021" y="218"/>
                </a:cubicBezTo>
                <a:cubicBezTo>
                  <a:pt x="3017" y="217"/>
                  <a:pt x="3014" y="211"/>
                  <a:pt x="3010" y="208"/>
                </a:cubicBezTo>
                <a:cubicBezTo>
                  <a:pt x="3005" y="205"/>
                  <a:pt x="2999" y="201"/>
                  <a:pt x="2994" y="206"/>
                </a:cubicBezTo>
                <a:cubicBezTo>
                  <a:pt x="2977" y="221"/>
                  <a:pt x="2968" y="204"/>
                  <a:pt x="2959" y="196"/>
                </a:cubicBezTo>
                <a:cubicBezTo>
                  <a:pt x="2954" y="191"/>
                  <a:pt x="2952" y="184"/>
                  <a:pt x="2943" y="186"/>
                </a:cubicBezTo>
                <a:cubicBezTo>
                  <a:pt x="2939" y="187"/>
                  <a:pt x="2936" y="189"/>
                  <a:pt x="2932" y="189"/>
                </a:cubicBezTo>
                <a:cubicBezTo>
                  <a:pt x="2923" y="189"/>
                  <a:pt x="2910" y="188"/>
                  <a:pt x="2917" y="177"/>
                </a:cubicBezTo>
                <a:cubicBezTo>
                  <a:pt x="2923" y="166"/>
                  <a:pt x="2936" y="177"/>
                  <a:pt x="2946" y="179"/>
                </a:cubicBezTo>
                <a:cubicBezTo>
                  <a:pt x="2948" y="179"/>
                  <a:pt x="2949" y="181"/>
                  <a:pt x="2951" y="181"/>
                </a:cubicBezTo>
                <a:cubicBezTo>
                  <a:pt x="2960" y="181"/>
                  <a:pt x="2972" y="193"/>
                  <a:pt x="2977" y="180"/>
                </a:cubicBezTo>
                <a:cubicBezTo>
                  <a:pt x="2980" y="170"/>
                  <a:pt x="2970" y="160"/>
                  <a:pt x="2960" y="156"/>
                </a:cubicBezTo>
                <a:cubicBezTo>
                  <a:pt x="2947" y="150"/>
                  <a:pt x="2934" y="144"/>
                  <a:pt x="2919" y="141"/>
                </a:cubicBezTo>
                <a:cubicBezTo>
                  <a:pt x="2905" y="139"/>
                  <a:pt x="2896" y="132"/>
                  <a:pt x="2890" y="120"/>
                </a:cubicBezTo>
                <a:cubicBezTo>
                  <a:pt x="2881" y="101"/>
                  <a:pt x="2862" y="98"/>
                  <a:pt x="2844" y="96"/>
                </a:cubicBezTo>
                <a:cubicBezTo>
                  <a:pt x="2824" y="94"/>
                  <a:pt x="2821" y="109"/>
                  <a:pt x="2816" y="124"/>
                </a:cubicBezTo>
                <a:cubicBezTo>
                  <a:pt x="2813" y="133"/>
                  <a:pt x="2808" y="136"/>
                  <a:pt x="2800" y="124"/>
                </a:cubicBezTo>
                <a:cubicBezTo>
                  <a:pt x="2790" y="108"/>
                  <a:pt x="2777" y="114"/>
                  <a:pt x="2767" y="125"/>
                </a:cubicBezTo>
                <a:cubicBezTo>
                  <a:pt x="2763" y="129"/>
                  <a:pt x="2766" y="144"/>
                  <a:pt x="2755" y="133"/>
                </a:cubicBezTo>
                <a:cubicBezTo>
                  <a:pt x="2732" y="112"/>
                  <a:pt x="2719" y="132"/>
                  <a:pt x="2702" y="142"/>
                </a:cubicBezTo>
                <a:cubicBezTo>
                  <a:pt x="2683" y="154"/>
                  <a:pt x="2699" y="165"/>
                  <a:pt x="2700" y="177"/>
                </a:cubicBezTo>
                <a:cubicBezTo>
                  <a:pt x="2701" y="184"/>
                  <a:pt x="2701" y="190"/>
                  <a:pt x="2702" y="202"/>
                </a:cubicBezTo>
                <a:cubicBezTo>
                  <a:pt x="2686" y="183"/>
                  <a:pt x="2671" y="189"/>
                  <a:pt x="2661" y="202"/>
                </a:cubicBezTo>
                <a:cubicBezTo>
                  <a:pt x="2645" y="224"/>
                  <a:pt x="2621" y="239"/>
                  <a:pt x="2604" y="260"/>
                </a:cubicBezTo>
                <a:cubicBezTo>
                  <a:pt x="2598" y="266"/>
                  <a:pt x="2596" y="277"/>
                  <a:pt x="2585" y="274"/>
                </a:cubicBezTo>
                <a:cubicBezTo>
                  <a:pt x="2575" y="271"/>
                  <a:pt x="2577" y="262"/>
                  <a:pt x="2575" y="254"/>
                </a:cubicBezTo>
                <a:cubicBezTo>
                  <a:pt x="2573" y="245"/>
                  <a:pt x="2570" y="236"/>
                  <a:pt x="2559" y="238"/>
                </a:cubicBezTo>
                <a:cubicBezTo>
                  <a:pt x="2549" y="240"/>
                  <a:pt x="2546" y="249"/>
                  <a:pt x="2548" y="259"/>
                </a:cubicBezTo>
                <a:cubicBezTo>
                  <a:pt x="2549" y="265"/>
                  <a:pt x="2550" y="271"/>
                  <a:pt x="2552" y="277"/>
                </a:cubicBezTo>
                <a:cubicBezTo>
                  <a:pt x="2538" y="255"/>
                  <a:pt x="2508" y="248"/>
                  <a:pt x="2503" y="218"/>
                </a:cubicBezTo>
                <a:cubicBezTo>
                  <a:pt x="2502" y="211"/>
                  <a:pt x="2483" y="176"/>
                  <a:pt x="2469" y="217"/>
                </a:cubicBezTo>
                <a:cubicBezTo>
                  <a:pt x="2466" y="228"/>
                  <a:pt x="2451" y="221"/>
                  <a:pt x="2447" y="217"/>
                </a:cubicBezTo>
                <a:cubicBezTo>
                  <a:pt x="2430" y="203"/>
                  <a:pt x="2412" y="191"/>
                  <a:pt x="2389" y="185"/>
                </a:cubicBezTo>
                <a:cubicBezTo>
                  <a:pt x="2407" y="167"/>
                  <a:pt x="2420" y="167"/>
                  <a:pt x="2433" y="185"/>
                </a:cubicBezTo>
                <a:cubicBezTo>
                  <a:pt x="2438" y="192"/>
                  <a:pt x="2446" y="197"/>
                  <a:pt x="2454" y="201"/>
                </a:cubicBezTo>
                <a:cubicBezTo>
                  <a:pt x="2460" y="205"/>
                  <a:pt x="2468" y="201"/>
                  <a:pt x="2467" y="196"/>
                </a:cubicBezTo>
                <a:cubicBezTo>
                  <a:pt x="2459" y="170"/>
                  <a:pt x="2479" y="150"/>
                  <a:pt x="2477" y="125"/>
                </a:cubicBezTo>
                <a:cubicBezTo>
                  <a:pt x="2474" y="101"/>
                  <a:pt x="2453" y="81"/>
                  <a:pt x="2440" y="93"/>
                </a:cubicBezTo>
                <a:cubicBezTo>
                  <a:pt x="2428" y="104"/>
                  <a:pt x="2427" y="102"/>
                  <a:pt x="2421" y="90"/>
                </a:cubicBezTo>
                <a:cubicBezTo>
                  <a:pt x="2414" y="77"/>
                  <a:pt x="2418" y="72"/>
                  <a:pt x="2430" y="68"/>
                </a:cubicBezTo>
                <a:cubicBezTo>
                  <a:pt x="2440" y="65"/>
                  <a:pt x="2446" y="59"/>
                  <a:pt x="2439" y="50"/>
                </a:cubicBezTo>
                <a:cubicBezTo>
                  <a:pt x="2427" y="34"/>
                  <a:pt x="2414" y="20"/>
                  <a:pt x="2401" y="7"/>
                </a:cubicBezTo>
                <a:cubicBezTo>
                  <a:pt x="2394" y="0"/>
                  <a:pt x="2383" y="4"/>
                  <a:pt x="2379" y="9"/>
                </a:cubicBezTo>
                <a:cubicBezTo>
                  <a:pt x="2367" y="26"/>
                  <a:pt x="2351" y="38"/>
                  <a:pt x="2333" y="47"/>
                </a:cubicBezTo>
                <a:cubicBezTo>
                  <a:pt x="2323" y="51"/>
                  <a:pt x="2326" y="62"/>
                  <a:pt x="2329" y="70"/>
                </a:cubicBezTo>
                <a:cubicBezTo>
                  <a:pt x="2332" y="79"/>
                  <a:pt x="2340" y="84"/>
                  <a:pt x="2349" y="84"/>
                </a:cubicBezTo>
                <a:cubicBezTo>
                  <a:pt x="2355" y="83"/>
                  <a:pt x="2360" y="76"/>
                  <a:pt x="2358" y="71"/>
                </a:cubicBezTo>
                <a:cubicBezTo>
                  <a:pt x="2348" y="47"/>
                  <a:pt x="2372" y="57"/>
                  <a:pt x="2378" y="51"/>
                </a:cubicBezTo>
                <a:cubicBezTo>
                  <a:pt x="2384" y="45"/>
                  <a:pt x="2385" y="53"/>
                  <a:pt x="2383" y="58"/>
                </a:cubicBezTo>
                <a:cubicBezTo>
                  <a:pt x="2380" y="66"/>
                  <a:pt x="2405" y="77"/>
                  <a:pt x="2378" y="85"/>
                </a:cubicBezTo>
                <a:cubicBezTo>
                  <a:pt x="2363" y="90"/>
                  <a:pt x="2356" y="112"/>
                  <a:pt x="2332" y="104"/>
                </a:cubicBezTo>
                <a:cubicBezTo>
                  <a:pt x="2326" y="102"/>
                  <a:pt x="2310" y="116"/>
                  <a:pt x="2312" y="132"/>
                </a:cubicBezTo>
                <a:cubicBezTo>
                  <a:pt x="2315" y="148"/>
                  <a:pt x="2309" y="152"/>
                  <a:pt x="2295" y="142"/>
                </a:cubicBezTo>
                <a:cubicBezTo>
                  <a:pt x="2288" y="137"/>
                  <a:pt x="2281" y="136"/>
                  <a:pt x="2274" y="143"/>
                </a:cubicBezTo>
                <a:cubicBezTo>
                  <a:pt x="2268" y="150"/>
                  <a:pt x="2270" y="160"/>
                  <a:pt x="2271" y="168"/>
                </a:cubicBezTo>
                <a:cubicBezTo>
                  <a:pt x="2274" y="180"/>
                  <a:pt x="2285" y="165"/>
                  <a:pt x="2291" y="171"/>
                </a:cubicBezTo>
                <a:cubicBezTo>
                  <a:pt x="2277" y="185"/>
                  <a:pt x="2264" y="202"/>
                  <a:pt x="2258" y="166"/>
                </a:cubicBezTo>
                <a:cubicBezTo>
                  <a:pt x="2255" y="152"/>
                  <a:pt x="2243" y="155"/>
                  <a:pt x="2234" y="160"/>
                </a:cubicBezTo>
                <a:cubicBezTo>
                  <a:pt x="2227" y="163"/>
                  <a:pt x="2215" y="170"/>
                  <a:pt x="2213" y="167"/>
                </a:cubicBezTo>
                <a:cubicBezTo>
                  <a:pt x="2203" y="129"/>
                  <a:pt x="2185" y="151"/>
                  <a:pt x="2169" y="160"/>
                </a:cubicBezTo>
                <a:cubicBezTo>
                  <a:pt x="2167" y="161"/>
                  <a:pt x="2163" y="160"/>
                  <a:pt x="2161" y="159"/>
                </a:cubicBezTo>
                <a:cubicBezTo>
                  <a:pt x="2150" y="154"/>
                  <a:pt x="2145" y="158"/>
                  <a:pt x="2137" y="167"/>
                </a:cubicBezTo>
                <a:cubicBezTo>
                  <a:pt x="2127" y="177"/>
                  <a:pt x="2112" y="183"/>
                  <a:pt x="2095" y="180"/>
                </a:cubicBezTo>
                <a:cubicBezTo>
                  <a:pt x="2080" y="178"/>
                  <a:pt x="2059" y="177"/>
                  <a:pt x="2076" y="204"/>
                </a:cubicBezTo>
                <a:cubicBezTo>
                  <a:pt x="2083" y="214"/>
                  <a:pt x="2077" y="222"/>
                  <a:pt x="2065" y="218"/>
                </a:cubicBezTo>
                <a:cubicBezTo>
                  <a:pt x="2041" y="211"/>
                  <a:pt x="2048" y="224"/>
                  <a:pt x="2054" y="235"/>
                </a:cubicBezTo>
                <a:cubicBezTo>
                  <a:pt x="2067" y="260"/>
                  <a:pt x="2083" y="282"/>
                  <a:pt x="2083" y="312"/>
                </a:cubicBezTo>
                <a:cubicBezTo>
                  <a:pt x="2067" y="303"/>
                  <a:pt x="2051" y="295"/>
                  <a:pt x="2036" y="314"/>
                </a:cubicBezTo>
                <a:cubicBezTo>
                  <a:pt x="2033" y="318"/>
                  <a:pt x="2029" y="319"/>
                  <a:pt x="2024" y="315"/>
                </a:cubicBezTo>
                <a:cubicBezTo>
                  <a:pt x="2009" y="304"/>
                  <a:pt x="1999" y="315"/>
                  <a:pt x="1989" y="325"/>
                </a:cubicBezTo>
                <a:cubicBezTo>
                  <a:pt x="1976" y="338"/>
                  <a:pt x="1964" y="355"/>
                  <a:pt x="1944" y="359"/>
                </a:cubicBezTo>
                <a:cubicBezTo>
                  <a:pt x="1929" y="362"/>
                  <a:pt x="1923" y="366"/>
                  <a:pt x="1935" y="381"/>
                </a:cubicBezTo>
                <a:cubicBezTo>
                  <a:pt x="1944" y="393"/>
                  <a:pt x="1949" y="407"/>
                  <a:pt x="1923" y="410"/>
                </a:cubicBezTo>
                <a:cubicBezTo>
                  <a:pt x="1903" y="413"/>
                  <a:pt x="1900" y="432"/>
                  <a:pt x="1899" y="449"/>
                </a:cubicBezTo>
                <a:cubicBezTo>
                  <a:pt x="1897" y="469"/>
                  <a:pt x="1911" y="464"/>
                  <a:pt x="1923" y="466"/>
                </a:cubicBezTo>
                <a:cubicBezTo>
                  <a:pt x="1936" y="468"/>
                  <a:pt x="1943" y="480"/>
                  <a:pt x="1934" y="493"/>
                </a:cubicBezTo>
                <a:cubicBezTo>
                  <a:pt x="1923" y="487"/>
                  <a:pt x="1910" y="475"/>
                  <a:pt x="1900" y="486"/>
                </a:cubicBezTo>
                <a:cubicBezTo>
                  <a:pt x="1888" y="498"/>
                  <a:pt x="1915" y="498"/>
                  <a:pt x="1912" y="512"/>
                </a:cubicBezTo>
                <a:cubicBezTo>
                  <a:pt x="1896" y="507"/>
                  <a:pt x="1893" y="518"/>
                  <a:pt x="1891" y="534"/>
                </a:cubicBezTo>
                <a:cubicBezTo>
                  <a:pt x="1884" y="520"/>
                  <a:pt x="1873" y="500"/>
                  <a:pt x="1868" y="504"/>
                </a:cubicBezTo>
                <a:cubicBezTo>
                  <a:pt x="1845" y="518"/>
                  <a:pt x="1814" y="510"/>
                  <a:pt x="1800" y="523"/>
                </a:cubicBezTo>
                <a:cubicBezTo>
                  <a:pt x="1786" y="536"/>
                  <a:pt x="1770" y="539"/>
                  <a:pt x="1757" y="549"/>
                </a:cubicBezTo>
                <a:cubicBezTo>
                  <a:pt x="1751" y="553"/>
                  <a:pt x="1744" y="553"/>
                  <a:pt x="1738" y="557"/>
                </a:cubicBezTo>
                <a:cubicBezTo>
                  <a:pt x="1731" y="560"/>
                  <a:pt x="1729" y="567"/>
                  <a:pt x="1732" y="575"/>
                </a:cubicBezTo>
                <a:cubicBezTo>
                  <a:pt x="1734" y="582"/>
                  <a:pt x="1741" y="580"/>
                  <a:pt x="1747" y="579"/>
                </a:cubicBezTo>
                <a:cubicBezTo>
                  <a:pt x="1772" y="571"/>
                  <a:pt x="1765" y="584"/>
                  <a:pt x="1759" y="597"/>
                </a:cubicBezTo>
                <a:cubicBezTo>
                  <a:pt x="1755" y="605"/>
                  <a:pt x="1752" y="613"/>
                  <a:pt x="1747" y="621"/>
                </a:cubicBezTo>
                <a:cubicBezTo>
                  <a:pt x="1735" y="642"/>
                  <a:pt x="1714" y="646"/>
                  <a:pt x="1694" y="632"/>
                </a:cubicBezTo>
                <a:cubicBezTo>
                  <a:pt x="1688" y="628"/>
                  <a:pt x="1679" y="621"/>
                  <a:pt x="1674" y="630"/>
                </a:cubicBezTo>
                <a:cubicBezTo>
                  <a:pt x="1668" y="644"/>
                  <a:pt x="1645" y="642"/>
                  <a:pt x="1647" y="661"/>
                </a:cubicBezTo>
                <a:cubicBezTo>
                  <a:pt x="1647" y="666"/>
                  <a:pt x="1650" y="670"/>
                  <a:pt x="1655" y="671"/>
                </a:cubicBezTo>
                <a:cubicBezTo>
                  <a:pt x="1671" y="676"/>
                  <a:pt x="1681" y="710"/>
                  <a:pt x="1671" y="722"/>
                </a:cubicBezTo>
                <a:cubicBezTo>
                  <a:pt x="1663" y="730"/>
                  <a:pt x="1656" y="738"/>
                  <a:pt x="1647" y="744"/>
                </a:cubicBezTo>
                <a:cubicBezTo>
                  <a:pt x="1636" y="753"/>
                  <a:pt x="1633" y="761"/>
                  <a:pt x="1642" y="773"/>
                </a:cubicBezTo>
                <a:cubicBezTo>
                  <a:pt x="1662" y="799"/>
                  <a:pt x="1626" y="786"/>
                  <a:pt x="1623" y="799"/>
                </a:cubicBezTo>
                <a:cubicBezTo>
                  <a:pt x="1620" y="811"/>
                  <a:pt x="1617" y="797"/>
                  <a:pt x="1615" y="795"/>
                </a:cubicBezTo>
                <a:cubicBezTo>
                  <a:pt x="1607" y="788"/>
                  <a:pt x="1599" y="790"/>
                  <a:pt x="1591" y="795"/>
                </a:cubicBezTo>
                <a:cubicBezTo>
                  <a:pt x="1587" y="798"/>
                  <a:pt x="1580" y="804"/>
                  <a:pt x="1587" y="808"/>
                </a:cubicBezTo>
                <a:cubicBezTo>
                  <a:pt x="1608" y="821"/>
                  <a:pt x="1584" y="816"/>
                  <a:pt x="1583" y="817"/>
                </a:cubicBezTo>
                <a:cubicBezTo>
                  <a:pt x="1575" y="826"/>
                  <a:pt x="1548" y="820"/>
                  <a:pt x="1561" y="843"/>
                </a:cubicBezTo>
                <a:cubicBezTo>
                  <a:pt x="1565" y="852"/>
                  <a:pt x="1570" y="862"/>
                  <a:pt x="1564" y="865"/>
                </a:cubicBezTo>
                <a:cubicBezTo>
                  <a:pt x="1554" y="870"/>
                  <a:pt x="1543" y="878"/>
                  <a:pt x="1529" y="875"/>
                </a:cubicBezTo>
                <a:cubicBezTo>
                  <a:pt x="1524" y="873"/>
                  <a:pt x="1522" y="859"/>
                  <a:pt x="1514" y="868"/>
                </a:cubicBezTo>
                <a:cubicBezTo>
                  <a:pt x="1506" y="877"/>
                  <a:pt x="1518" y="881"/>
                  <a:pt x="1522" y="887"/>
                </a:cubicBezTo>
                <a:cubicBezTo>
                  <a:pt x="1525" y="893"/>
                  <a:pt x="1528" y="899"/>
                  <a:pt x="1531" y="904"/>
                </a:cubicBezTo>
                <a:cubicBezTo>
                  <a:pt x="1515" y="910"/>
                  <a:pt x="1490" y="902"/>
                  <a:pt x="1490" y="925"/>
                </a:cubicBezTo>
                <a:cubicBezTo>
                  <a:pt x="1490" y="941"/>
                  <a:pt x="1509" y="950"/>
                  <a:pt x="1529" y="942"/>
                </a:cubicBezTo>
                <a:cubicBezTo>
                  <a:pt x="1528" y="952"/>
                  <a:pt x="1524" y="956"/>
                  <a:pt x="1519" y="959"/>
                </a:cubicBezTo>
                <a:cubicBezTo>
                  <a:pt x="1495" y="973"/>
                  <a:pt x="1481" y="1021"/>
                  <a:pt x="1501" y="1033"/>
                </a:cubicBezTo>
                <a:cubicBezTo>
                  <a:pt x="1524" y="1047"/>
                  <a:pt x="1526" y="1070"/>
                  <a:pt x="1541" y="1086"/>
                </a:cubicBezTo>
                <a:cubicBezTo>
                  <a:pt x="1552" y="1097"/>
                  <a:pt x="1551" y="1108"/>
                  <a:pt x="1540" y="1118"/>
                </a:cubicBezTo>
                <a:cubicBezTo>
                  <a:pt x="1527" y="1115"/>
                  <a:pt x="1534" y="1098"/>
                  <a:pt x="1525" y="1094"/>
                </a:cubicBezTo>
                <a:cubicBezTo>
                  <a:pt x="1514" y="1097"/>
                  <a:pt x="1518" y="1107"/>
                  <a:pt x="1512" y="1111"/>
                </a:cubicBezTo>
                <a:cubicBezTo>
                  <a:pt x="1496" y="1081"/>
                  <a:pt x="1486" y="1107"/>
                  <a:pt x="1476" y="1115"/>
                </a:cubicBezTo>
                <a:cubicBezTo>
                  <a:pt x="1465" y="1123"/>
                  <a:pt x="1458" y="1130"/>
                  <a:pt x="1448" y="1112"/>
                </a:cubicBezTo>
                <a:cubicBezTo>
                  <a:pt x="1439" y="1097"/>
                  <a:pt x="1423" y="1097"/>
                  <a:pt x="1408" y="1109"/>
                </a:cubicBezTo>
                <a:cubicBezTo>
                  <a:pt x="1394" y="1121"/>
                  <a:pt x="1379" y="1132"/>
                  <a:pt x="1365" y="1143"/>
                </a:cubicBezTo>
                <a:cubicBezTo>
                  <a:pt x="1360" y="1130"/>
                  <a:pt x="1379" y="1120"/>
                  <a:pt x="1365" y="1110"/>
                </a:cubicBezTo>
                <a:cubicBezTo>
                  <a:pt x="1357" y="1104"/>
                  <a:pt x="1346" y="1108"/>
                  <a:pt x="1342" y="1116"/>
                </a:cubicBezTo>
                <a:cubicBezTo>
                  <a:pt x="1331" y="1143"/>
                  <a:pt x="1320" y="1122"/>
                  <a:pt x="1306" y="1113"/>
                </a:cubicBezTo>
                <a:cubicBezTo>
                  <a:pt x="1308" y="1149"/>
                  <a:pt x="1281" y="1149"/>
                  <a:pt x="1261" y="1160"/>
                </a:cubicBezTo>
                <a:cubicBezTo>
                  <a:pt x="1278" y="1146"/>
                  <a:pt x="1255" y="1132"/>
                  <a:pt x="1254" y="1119"/>
                </a:cubicBezTo>
                <a:cubicBezTo>
                  <a:pt x="1253" y="1111"/>
                  <a:pt x="1245" y="1107"/>
                  <a:pt x="1236" y="1110"/>
                </a:cubicBezTo>
                <a:cubicBezTo>
                  <a:pt x="1220" y="1117"/>
                  <a:pt x="1222" y="1129"/>
                  <a:pt x="1226" y="1142"/>
                </a:cubicBezTo>
                <a:cubicBezTo>
                  <a:pt x="1228" y="1147"/>
                  <a:pt x="1226" y="1152"/>
                  <a:pt x="1220" y="1153"/>
                </a:cubicBezTo>
                <a:cubicBezTo>
                  <a:pt x="1214" y="1154"/>
                  <a:pt x="1212" y="1150"/>
                  <a:pt x="1212" y="1144"/>
                </a:cubicBezTo>
                <a:cubicBezTo>
                  <a:pt x="1212" y="1130"/>
                  <a:pt x="1201" y="1130"/>
                  <a:pt x="1191" y="1130"/>
                </a:cubicBezTo>
                <a:cubicBezTo>
                  <a:pt x="1191" y="1146"/>
                  <a:pt x="1165" y="1149"/>
                  <a:pt x="1171" y="1171"/>
                </a:cubicBezTo>
                <a:cubicBezTo>
                  <a:pt x="1173" y="1179"/>
                  <a:pt x="1181" y="1193"/>
                  <a:pt x="1161" y="1199"/>
                </a:cubicBezTo>
                <a:cubicBezTo>
                  <a:pt x="1149" y="1202"/>
                  <a:pt x="1150" y="1214"/>
                  <a:pt x="1163" y="1219"/>
                </a:cubicBezTo>
                <a:cubicBezTo>
                  <a:pt x="1169" y="1222"/>
                  <a:pt x="1177" y="1228"/>
                  <a:pt x="1184" y="1222"/>
                </a:cubicBezTo>
                <a:cubicBezTo>
                  <a:pt x="1195" y="1213"/>
                  <a:pt x="1200" y="1200"/>
                  <a:pt x="1202" y="1186"/>
                </a:cubicBezTo>
                <a:cubicBezTo>
                  <a:pt x="1201" y="1213"/>
                  <a:pt x="1197" y="1238"/>
                  <a:pt x="1193" y="1264"/>
                </a:cubicBezTo>
                <a:cubicBezTo>
                  <a:pt x="1191" y="1271"/>
                  <a:pt x="1183" y="1270"/>
                  <a:pt x="1178" y="1273"/>
                </a:cubicBezTo>
                <a:cubicBezTo>
                  <a:pt x="1173" y="1275"/>
                  <a:pt x="1164" y="1276"/>
                  <a:pt x="1163" y="1279"/>
                </a:cubicBezTo>
                <a:cubicBezTo>
                  <a:pt x="1161" y="1294"/>
                  <a:pt x="1155" y="1304"/>
                  <a:pt x="1139" y="1298"/>
                </a:cubicBezTo>
                <a:cubicBezTo>
                  <a:pt x="1126" y="1294"/>
                  <a:pt x="1113" y="1289"/>
                  <a:pt x="1102" y="1281"/>
                </a:cubicBezTo>
                <a:cubicBezTo>
                  <a:pt x="1093" y="1275"/>
                  <a:pt x="1089" y="1230"/>
                  <a:pt x="1096" y="1228"/>
                </a:cubicBezTo>
                <a:cubicBezTo>
                  <a:pt x="1130" y="1221"/>
                  <a:pt x="1117" y="1214"/>
                  <a:pt x="1098" y="1203"/>
                </a:cubicBezTo>
                <a:cubicBezTo>
                  <a:pt x="1091" y="1198"/>
                  <a:pt x="1094" y="1187"/>
                  <a:pt x="1096" y="1178"/>
                </a:cubicBezTo>
                <a:cubicBezTo>
                  <a:pt x="1099" y="1162"/>
                  <a:pt x="1096" y="1152"/>
                  <a:pt x="1077" y="1163"/>
                </a:cubicBezTo>
                <a:cubicBezTo>
                  <a:pt x="1069" y="1168"/>
                  <a:pt x="1060" y="1169"/>
                  <a:pt x="1056" y="1157"/>
                </a:cubicBezTo>
                <a:cubicBezTo>
                  <a:pt x="1053" y="1150"/>
                  <a:pt x="1074" y="1140"/>
                  <a:pt x="1055" y="1136"/>
                </a:cubicBezTo>
                <a:cubicBezTo>
                  <a:pt x="1043" y="1133"/>
                  <a:pt x="1030" y="1136"/>
                  <a:pt x="1023" y="1151"/>
                </a:cubicBezTo>
                <a:cubicBezTo>
                  <a:pt x="1020" y="1157"/>
                  <a:pt x="1009" y="1160"/>
                  <a:pt x="1002" y="1164"/>
                </a:cubicBezTo>
                <a:cubicBezTo>
                  <a:pt x="995" y="1168"/>
                  <a:pt x="980" y="1161"/>
                  <a:pt x="982" y="1175"/>
                </a:cubicBezTo>
                <a:cubicBezTo>
                  <a:pt x="984" y="1183"/>
                  <a:pt x="988" y="1196"/>
                  <a:pt x="1002" y="1197"/>
                </a:cubicBezTo>
                <a:cubicBezTo>
                  <a:pt x="1010" y="1197"/>
                  <a:pt x="1012" y="1202"/>
                  <a:pt x="1011" y="1208"/>
                </a:cubicBezTo>
                <a:cubicBezTo>
                  <a:pt x="1010" y="1216"/>
                  <a:pt x="1005" y="1218"/>
                  <a:pt x="999" y="1216"/>
                </a:cubicBezTo>
                <a:cubicBezTo>
                  <a:pt x="979" y="1210"/>
                  <a:pt x="968" y="1225"/>
                  <a:pt x="955" y="1234"/>
                </a:cubicBezTo>
                <a:cubicBezTo>
                  <a:pt x="946" y="1240"/>
                  <a:pt x="945" y="1251"/>
                  <a:pt x="949" y="1260"/>
                </a:cubicBezTo>
                <a:cubicBezTo>
                  <a:pt x="954" y="1272"/>
                  <a:pt x="964" y="1266"/>
                  <a:pt x="972" y="1263"/>
                </a:cubicBezTo>
                <a:cubicBezTo>
                  <a:pt x="984" y="1260"/>
                  <a:pt x="997" y="1249"/>
                  <a:pt x="1013" y="1268"/>
                </a:cubicBezTo>
                <a:cubicBezTo>
                  <a:pt x="991" y="1268"/>
                  <a:pt x="968" y="1262"/>
                  <a:pt x="959" y="1279"/>
                </a:cubicBezTo>
                <a:cubicBezTo>
                  <a:pt x="950" y="1294"/>
                  <a:pt x="977" y="1289"/>
                  <a:pt x="984" y="1310"/>
                </a:cubicBezTo>
                <a:cubicBezTo>
                  <a:pt x="945" y="1292"/>
                  <a:pt x="913" y="1277"/>
                  <a:pt x="880" y="1263"/>
                </a:cubicBezTo>
                <a:cubicBezTo>
                  <a:pt x="882" y="1255"/>
                  <a:pt x="897" y="1253"/>
                  <a:pt x="889" y="1241"/>
                </a:cubicBezTo>
                <a:cubicBezTo>
                  <a:pt x="884" y="1233"/>
                  <a:pt x="874" y="1236"/>
                  <a:pt x="867" y="1236"/>
                </a:cubicBezTo>
                <a:cubicBezTo>
                  <a:pt x="849" y="1235"/>
                  <a:pt x="868" y="1254"/>
                  <a:pt x="861" y="1253"/>
                </a:cubicBezTo>
                <a:cubicBezTo>
                  <a:pt x="835" y="1246"/>
                  <a:pt x="836" y="1275"/>
                  <a:pt x="820" y="1282"/>
                </a:cubicBezTo>
                <a:cubicBezTo>
                  <a:pt x="804" y="1289"/>
                  <a:pt x="800" y="1311"/>
                  <a:pt x="811" y="1322"/>
                </a:cubicBezTo>
                <a:cubicBezTo>
                  <a:pt x="824" y="1333"/>
                  <a:pt x="828" y="1312"/>
                  <a:pt x="835" y="1305"/>
                </a:cubicBezTo>
                <a:cubicBezTo>
                  <a:pt x="839" y="1300"/>
                  <a:pt x="842" y="1295"/>
                  <a:pt x="849" y="1298"/>
                </a:cubicBezTo>
                <a:cubicBezTo>
                  <a:pt x="857" y="1301"/>
                  <a:pt x="857" y="1307"/>
                  <a:pt x="855" y="1315"/>
                </a:cubicBezTo>
                <a:cubicBezTo>
                  <a:pt x="854" y="1320"/>
                  <a:pt x="853" y="1326"/>
                  <a:pt x="851" y="1332"/>
                </a:cubicBezTo>
                <a:cubicBezTo>
                  <a:pt x="848" y="1343"/>
                  <a:pt x="849" y="1356"/>
                  <a:pt x="859" y="1360"/>
                </a:cubicBezTo>
                <a:cubicBezTo>
                  <a:pt x="869" y="1364"/>
                  <a:pt x="884" y="1365"/>
                  <a:pt x="893" y="1352"/>
                </a:cubicBezTo>
                <a:cubicBezTo>
                  <a:pt x="896" y="1346"/>
                  <a:pt x="897" y="1339"/>
                  <a:pt x="906" y="1337"/>
                </a:cubicBezTo>
                <a:cubicBezTo>
                  <a:pt x="916" y="1344"/>
                  <a:pt x="912" y="1363"/>
                  <a:pt x="925" y="1364"/>
                </a:cubicBezTo>
                <a:cubicBezTo>
                  <a:pt x="943" y="1365"/>
                  <a:pt x="948" y="1385"/>
                  <a:pt x="965" y="1386"/>
                </a:cubicBezTo>
                <a:cubicBezTo>
                  <a:pt x="969" y="1386"/>
                  <a:pt x="975" y="1395"/>
                  <a:pt x="970" y="1401"/>
                </a:cubicBezTo>
                <a:cubicBezTo>
                  <a:pt x="939" y="1437"/>
                  <a:pt x="976" y="1421"/>
                  <a:pt x="988" y="1425"/>
                </a:cubicBezTo>
                <a:cubicBezTo>
                  <a:pt x="985" y="1439"/>
                  <a:pt x="975" y="1441"/>
                  <a:pt x="962" y="1442"/>
                </a:cubicBezTo>
                <a:cubicBezTo>
                  <a:pt x="949" y="1442"/>
                  <a:pt x="943" y="1454"/>
                  <a:pt x="942" y="1467"/>
                </a:cubicBezTo>
                <a:cubicBezTo>
                  <a:pt x="942" y="1476"/>
                  <a:pt x="939" y="1488"/>
                  <a:pt x="948" y="1494"/>
                </a:cubicBezTo>
                <a:cubicBezTo>
                  <a:pt x="961" y="1503"/>
                  <a:pt x="967" y="1489"/>
                  <a:pt x="976" y="1484"/>
                </a:cubicBezTo>
                <a:cubicBezTo>
                  <a:pt x="977" y="1484"/>
                  <a:pt x="979" y="1485"/>
                  <a:pt x="984" y="1486"/>
                </a:cubicBezTo>
                <a:cubicBezTo>
                  <a:pt x="979" y="1499"/>
                  <a:pt x="987" y="1512"/>
                  <a:pt x="977" y="1527"/>
                </a:cubicBezTo>
                <a:cubicBezTo>
                  <a:pt x="960" y="1552"/>
                  <a:pt x="939" y="1577"/>
                  <a:pt x="955" y="1614"/>
                </a:cubicBezTo>
                <a:cubicBezTo>
                  <a:pt x="939" y="1606"/>
                  <a:pt x="927" y="1603"/>
                  <a:pt x="913" y="1611"/>
                </a:cubicBezTo>
                <a:cubicBezTo>
                  <a:pt x="896" y="1620"/>
                  <a:pt x="912" y="1636"/>
                  <a:pt x="905" y="1646"/>
                </a:cubicBezTo>
                <a:cubicBezTo>
                  <a:pt x="894" y="1642"/>
                  <a:pt x="885" y="1640"/>
                  <a:pt x="874" y="1644"/>
                </a:cubicBezTo>
                <a:cubicBezTo>
                  <a:pt x="838" y="1659"/>
                  <a:pt x="823" y="1649"/>
                  <a:pt x="822" y="1610"/>
                </a:cubicBezTo>
                <a:cubicBezTo>
                  <a:pt x="822" y="1602"/>
                  <a:pt x="819" y="1597"/>
                  <a:pt x="813" y="1592"/>
                </a:cubicBezTo>
                <a:cubicBezTo>
                  <a:pt x="809" y="1589"/>
                  <a:pt x="803" y="1588"/>
                  <a:pt x="800" y="1593"/>
                </a:cubicBezTo>
                <a:cubicBezTo>
                  <a:pt x="792" y="1608"/>
                  <a:pt x="776" y="1623"/>
                  <a:pt x="780" y="1642"/>
                </a:cubicBezTo>
                <a:cubicBezTo>
                  <a:pt x="786" y="1666"/>
                  <a:pt x="782" y="1684"/>
                  <a:pt x="763" y="1700"/>
                </a:cubicBezTo>
                <a:cubicBezTo>
                  <a:pt x="747" y="1714"/>
                  <a:pt x="753" y="1724"/>
                  <a:pt x="773" y="1730"/>
                </a:cubicBezTo>
                <a:cubicBezTo>
                  <a:pt x="792" y="1736"/>
                  <a:pt x="800" y="1721"/>
                  <a:pt x="813" y="1709"/>
                </a:cubicBezTo>
                <a:cubicBezTo>
                  <a:pt x="807" y="1724"/>
                  <a:pt x="806" y="1735"/>
                  <a:pt x="811" y="1746"/>
                </a:cubicBezTo>
                <a:cubicBezTo>
                  <a:pt x="813" y="1753"/>
                  <a:pt x="819" y="1760"/>
                  <a:pt x="826" y="1752"/>
                </a:cubicBezTo>
                <a:cubicBezTo>
                  <a:pt x="838" y="1737"/>
                  <a:pt x="843" y="1747"/>
                  <a:pt x="850" y="1757"/>
                </a:cubicBezTo>
                <a:cubicBezTo>
                  <a:pt x="854" y="1764"/>
                  <a:pt x="861" y="1766"/>
                  <a:pt x="867" y="1762"/>
                </a:cubicBezTo>
                <a:cubicBezTo>
                  <a:pt x="890" y="1748"/>
                  <a:pt x="896" y="1764"/>
                  <a:pt x="897" y="1780"/>
                </a:cubicBezTo>
                <a:cubicBezTo>
                  <a:pt x="898" y="1800"/>
                  <a:pt x="903" y="1798"/>
                  <a:pt x="920" y="1795"/>
                </a:cubicBezTo>
                <a:cubicBezTo>
                  <a:pt x="938" y="1791"/>
                  <a:pt x="960" y="1796"/>
                  <a:pt x="977" y="1803"/>
                </a:cubicBezTo>
                <a:cubicBezTo>
                  <a:pt x="995" y="1811"/>
                  <a:pt x="994" y="1839"/>
                  <a:pt x="979" y="1853"/>
                </a:cubicBezTo>
                <a:cubicBezTo>
                  <a:pt x="975" y="1857"/>
                  <a:pt x="968" y="1861"/>
                  <a:pt x="967" y="1865"/>
                </a:cubicBezTo>
                <a:cubicBezTo>
                  <a:pt x="960" y="1911"/>
                  <a:pt x="931" y="1914"/>
                  <a:pt x="894" y="1908"/>
                </a:cubicBezTo>
                <a:cubicBezTo>
                  <a:pt x="877" y="1906"/>
                  <a:pt x="868" y="1909"/>
                  <a:pt x="875" y="1931"/>
                </a:cubicBezTo>
                <a:cubicBezTo>
                  <a:pt x="886" y="1964"/>
                  <a:pt x="868" y="1992"/>
                  <a:pt x="837" y="2001"/>
                </a:cubicBezTo>
                <a:cubicBezTo>
                  <a:pt x="824" y="2004"/>
                  <a:pt x="816" y="1997"/>
                  <a:pt x="807" y="1993"/>
                </a:cubicBezTo>
                <a:cubicBezTo>
                  <a:pt x="779" y="1978"/>
                  <a:pt x="750" y="1963"/>
                  <a:pt x="734" y="1932"/>
                </a:cubicBezTo>
                <a:cubicBezTo>
                  <a:pt x="732" y="1927"/>
                  <a:pt x="724" y="1927"/>
                  <a:pt x="721" y="1930"/>
                </a:cubicBezTo>
                <a:cubicBezTo>
                  <a:pt x="714" y="1937"/>
                  <a:pt x="683" y="1932"/>
                  <a:pt x="706" y="1959"/>
                </a:cubicBezTo>
                <a:cubicBezTo>
                  <a:pt x="708" y="1962"/>
                  <a:pt x="701" y="1995"/>
                  <a:pt x="688" y="2011"/>
                </a:cubicBezTo>
                <a:cubicBezTo>
                  <a:pt x="685" y="2016"/>
                  <a:pt x="683" y="2022"/>
                  <a:pt x="687" y="2027"/>
                </a:cubicBezTo>
                <a:cubicBezTo>
                  <a:pt x="691" y="2030"/>
                  <a:pt x="695" y="2029"/>
                  <a:pt x="698" y="2026"/>
                </a:cubicBezTo>
                <a:cubicBezTo>
                  <a:pt x="706" y="2021"/>
                  <a:pt x="715" y="2010"/>
                  <a:pt x="722" y="2023"/>
                </a:cubicBezTo>
                <a:cubicBezTo>
                  <a:pt x="729" y="2039"/>
                  <a:pt x="710" y="2033"/>
                  <a:pt x="704" y="2038"/>
                </a:cubicBezTo>
                <a:cubicBezTo>
                  <a:pt x="698" y="2043"/>
                  <a:pt x="688" y="2044"/>
                  <a:pt x="688" y="2054"/>
                </a:cubicBezTo>
                <a:cubicBezTo>
                  <a:pt x="689" y="2067"/>
                  <a:pt x="680" y="2065"/>
                  <a:pt x="673" y="2064"/>
                </a:cubicBezTo>
                <a:cubicBezTo>
                  <a:pt x="648" y="2064"/>
                  <a:pt x="641" y="2074"/>
                  <a:pt x="655" y="2096"/>
                </a:cubicBezTo>
                <a:cubicBezTo>
                  <a:pt x="643" y="2095"/>
                  <a:pt x="631" y="2094"/>
                  <a:pt x="618" y="2093"/>
                </a:cubicBezTo>
                <a:cubicBezTo>
                  <a:pt x="625" y="2087"/>
                  <a:pt x="638" y="2098"/>
                  <a:pt x="638" y="2085"/>
                </a:cubicBezTo>
                <a:cubicBezTo>
                  <a:pt x="638" y="2078"/>
                  <a:pt x="630" y="2074"/>
                  <a:pt x="622" y="2074"/>
                </a:cubicBezTo>
                <a:cubicBezTo>
                  <a:pt x="603" y="2075"/>
                  <a:pt x="579" y="2037"/>
                  <a:pt x="566" y="2082"/>
                </a:cubicBezTo>
                <a:cubicBezTo>
                  <a:pt x="565" y="2082"/>
                  <a:pt x="563" y="2083"/>
                  <a:pt x="563" y="2082"/>
                </a:cubicBezTo>
                <a:cubicBezTo>
                  <a:pt x="542" y="2065"/>
                  <a:pt x="528" y="2092"/>
                  <a:pt x="512" y="2091"/>
                </a:cubicBezTo>
                <a:cubicBezTo>
                  <a:pt x="469" y="2089"/>
                  <a:pt x="449" y="2121"/>
                  <a:pt x="421" y="2141"/>
                </a:cubicBezTo>
                <a:cubicBezTo>
                  <a:pt x="402" y="2154"/>
                  <a:pt x="408" y="2171"/>
                  <a:pt x="425" y="2181"/>
                </a:cubicBezTo>
                <a:cubicBezTo>
                  <a:pt x="432" y="2185"/>
                  <a:pt x="442" y="2186"/>
                  <a:pt x="448" y="2201"/>
                </a:cubicBezTo>
                <a:cubicBezTo>
                  <a:pt x="426" y="2190"/>
                  <a:pt x="405" y="2209"/>
                  <a:pt x="404" y="2215"/>
                </a:cubicBezTo>
                <a:cubicBezTo>
                  <a:pt x="401" y="2239"/>
                  <a:pt x="379" y="2233"/>
                  <a:pt x="368" y="2248"/>
                </a:cubicBezTo>
                <a:cubicBezTo>
                  <a:pt x="372" y="2221"/>
                  <a:pt x="336" y="2211"/>
                  <a:pt x="351" y="2186"/>
                </a:cubicBezTo>
                <a:cubicBezTo>
                  <a:pt x="347" y="2185"/>
                  <a:pt x="344" y="2183"/>
                  <a:pt x="340" y="2183"/>
                </a:cubicBezTo>
                <a:cubicBezTo>
                  <a:pt x="319" y="2180"/>
                  <a:pt x="298" y="2178"/>
                  <a:pt x="276" y="2177"/>
                </a:cubicBezTo>
                <a:cubicBezTo>
                  <a:pt x="259" y="2175"/>
                  <a:pt x="247" y="2177"/>
                  <a:pt x="256" y="2201"/>
                </a:cubicBezTo>
                <a:cubicBezTo>
                  <a:pt x="260" y="2212"/>
                  <a:pt x="271" y="2231"/>
                  <a:pt x="253" y="2240"/>
                </a:cubicBezTo>
                <a:cubicBezTo>
                  <a:pt x="230" y="2251"/>
                  <a:pt x="216" y="2263"/>
                  <a:pt x="229" y="2291"/>
                </a:cubicBezTo>
                <a:cubicBezTo>
                  <a:pt x="230" y="2295"/>
                  <a:pt x="225" y="2303"/>
                  <a:pt x="222" y="2309"/>
                </a:cubicBezTo>
                <a:cubicBezTo>
                  <a:pt x="217" y="2322"/>
                  <a:pt x="212" y="2339"/>
                  <a:pt x="223" y="2347"/>
                </a:cubicBezTo>
                <a:cubicBezTo>
                  <a:pt x="234" y="2355"/>
                  <a:pt x="236" y="2332"/>
                  <a:pt x="249" y="2329"/>
                </a:cubicBezTo>
                <a:cubicBezTo>
                  <a:pt x="256" y="2358"/>
                  <a:pt x="237" y="2367"/>
                  <a:pt x="217" y="2374"/>
                </a:cubicBezTo>
                <a:cubicBezTo>
                  <a:pt x="205" y="2378"/>
                  <a:pt x="198" y="2383"/>
                  <a:pt x="190" y="2394"/>
                </a:cubicBezTo>
                <a:cubicBezTo>
                  <a:pt x="177" y="2410"/>
                  <a:pt x="174" y="2438"/>
                  <a:pt x="147" y="2441"/>
                </a:cubicBezTo>
                <a:cubicBezTo>
                  <a:pt x="146" y="2441"/>
                  <a:pt x="145" y="2439"/>
                  <a:pt x="144" y="2438"/>
                </a:cubicBezTo>
                <a:cubicBezTo>
                  <a:pt x="147" y="2428"/>
                  <a:pt x="162" y="2436"/>
                  <a:pt x="164" y="2423"/>
                </a:cubicBezTo>
                <a:cubicBezTo>
                  <a:pt x="145" y="2407"/>
                  <a:pt x="118" y="2410"/>
                  <a:pt x="97" y="2400"/>
                </a:cubicBezTo>
                <a:cubicBezTo>
                  <a:pt x="94" y="2399"/>
                  <a:pt x="89" y="2400"/>
                  <a:pt x="89" y="2401"/>
                </a:cubicBezTo>
                <a:cubicBezTo>
                  <a:pt x="78" y="2430"/>
                  <a:pt x="40" y="2434"/>
                  <a:pt x="30" y="2468"/>
                </a:cubicBezTo>
                <a:cubicBezTo>
                  <a:pt x="23" y="2489"/>
                  <a:pt x="18" y="2495"/>
                  <a:pt x="41" y="2502"/>
                </a:cubicBezTo>
                <a:cubicBezTo>
                  <a:pt x="59" y="2506"/>
                  <a:pt x="78" y="2560"/>
                  <a:pt x="64" y="2567"/>
                </a:cubicBezTo>
                <a:cubicBezTo>
                  <a:pt x="37" y="2581"/>
                  <a:pt x="50" y="2589"/>
                  <a:pt x="65" y="2600"/>
                </a:cubicBezTo>
                <a:cubicBezTo>
                  <a:pt x="56" y="2610"/>
                  <a:pt x="33" y="2595"/>
                  <a:pt x="35" y="2619"/>
                </a:cubicBezTo>
                <a:cubicBezTo>
                  <a:pt x="37" y="2633"/>
                  <a:pt x="25" y="2644"/>
                  <a:pt x="26" y="2658"/>
                </a:cubicBezTo>
                <a:cubicBezTo>
                  <a:pt x="26" y="2663"/>
                  <a:pt x="29" y="2669"/>
                  <a:pt x="35" y="2668"/>
                </a:cubicBezTo>
                <a:cubicBezTo>
                  <a:pt x="67" y="2661"/>
                  <a:pt x="77" y="2689"/>
                  <a:pt x="94" y="2705"/>
                </a:cubicBezTo>
                <a:cubicBezTo>
                  <a:pt x="105" y="2716"/>
                  <a:pt x="117" y="2733"/>
                  <a:pt x="131" y="2716"/>
                </a:cubicBezTo>
                <a:cubicBezTo>
                  <a:pt x="141" y="2702"/>
                  <a:pt x="148" y="2689"/>
                  <a:pt x="165" y="2684"/>
                </a:cubicBezTo>
                <a:cubicBezTo>
                  <a:pt x="172" y="2682"/>
                  <a:pt x="179" y="2663"/>
                  <a:pt x="186" y="2675"/>
                </a:cubicBezTo>
                <a:cubicBezTo>
                  <a:pt x="194" y="2689"/>
                  <a:pt x="221" y="2691"/>
                  <a:pt x="212" y="2715"/>
                </a:cubicBezTo>
                <a:cubicBezTo>
                  <a:pt x="210" y="2720"/>
                  <a:pt x="210" y="2725"/>
                  <a:pt x="202" y="2727"/>
                </a:cubicBezTo>
                <a:cubicBezTo>
                  <a:pt x="173" y="2734"/>
                  <a:pt x="145" y="2770"/>
                  <a:pt x="142" y="2800"/>
                </a:cubicBezTo>
                <a:cubicBezTo>
                  <a:pt x="138" y="2781"/>
                  <a:pt x="126" y="2772"/>
                  <a:pt x="108" y="2763"/>
                </a:cubicBezTo>
                <a:cubicBezTo>
                  <a:pt x="76" y="2747"/>
                  <a:pt x="71" y="2783"/>
                  <a:pt x="51" y="2788"/>
                </a:cubicBezTo>
                <a:cubicBezTo>
                  <a:pt x="49" y="2778"/>
                  <a:pt x="68" y="2776"/>
                  <a:pt x="62" y="2764"/>
                </a:cubicBezTo>
                <a:cubicBezTo>
                  <a:pt x="59" y="2758"/>
                  <a:pt x="52" y="2759"/>
                  <a:pt x="46" y="2760"/>
                </a:cubicBezTo>
                <a:cubicBezTo>
                  <a:pt x="31" y="2765"/>
                  <a:pt x="22" y="2777"/>
                  <a:pt x="17" y="2791"/>
                </a:cubicBezTo>
                <a:cubicBezTo>
                  <a:pt x="14" y="2797"/>
                  <a:pt x="20" y="2804"/>
                  <a:pt x="25" y="2803"/>
                </a:cubicBezTo>
                <a:cubicBezTo>
                  <a:pt x="67" y="2797"/>
                  <a:pt x="36" y="2821"/>
                  <a:pt x="35" y="2830"/>
                </a:cubicBezTo>
                <a:cubicBezTo>
                  <a:pt x="35" y="2837"/>
                  <a:pt x="26" y="2844"/>
                  <a:pt x="33" y="2851"/>
                </a:cubicBezTo>
                <a:cubicBezTo>
                  <a:pt x="39" y="2858"/>
                  <a:pt x="45" y="2841"/>
                  <a:pt x="52" y="2847"/>
                </a:cubicBezTo>
                <a:cubicBezTo>
                  <a:pt x="55" y="2857"/>
                  <a:pt x="41" y="2871"/>
                  <a:pt x="55" y="2876"/>
                </a:cubicBezTo>
                <a:cubicBezTo>
                  <a:pt x="68" y="2881"/>
                  <a:pt x="69" y="2864"/>
                  <a:pt x="76" y="2857"/>
                </a:cubicBezTo>
                <a:cubicBezTo>
                  <a:pt x="82" y="2849"/>
                  <a:pt x="89" y="2842"/>
                  <a:pt x="96" y="2835"/>
                </a:cubicBezTo>
                <a:cubicBezTo>
                  <a:pt x="83" y="2862"/>
                  <a:pt x="109" y="2877"/>
                  <a:pt x="115" y="2898"/>
                </a:cubicBezTo>
                <a:cubicBezTo>
                  <a:pt x="124" y="2934"/>
                  <a:pt x="140" y="2936"/>
                  <a:pt x="167" y="2906"/>
                </a:cubicBezTo>
                <a:cubicBezTo>
                  <a:pt x="166" y="2923"/>
                  <a:pt x="190" y="2931"/>
                  <a:pt x="173" y="2949"/>
                </a:cubicBezTo>
                <a:cubicBezTo>
                  <a:pt x="144" y="2980"/>
                  <a:pt x="128" y="3023"/>
                  <a:pt x="90" y="3047"/>
                </a:cubicBezTo>
                <a:cubicBezTo>
                  <a:pt x="75" y="3056"/>
                  <a:pt x="78" y="3086"/>
                  <a:pt x="94" y="3101"/>
                </a:cubicBezTo>
                <a:cubicBezTo>
                  <a:pt x="111" y="3116"/>
                  <a:pt x="117" y="3100"/>
                  <a:pt x="126" y="3091"/>
                </a:cubicBezTo>
                <a:cubicBezTo>
                  <a:pt x="139" y="3078"/>
                  <a:pt x="176" y="3085"/>
                  <a:pt x="179" y="3102"/>
                </a:cubicBezTo>
                <a:cubicBezTo>
                  <a:pt x="181" y="3109"/>
                  <a:pt x="192" y="3131"/>
                  <a:pt x="165" y="3124"/>
                </a:cubicBezTo>
                <a:cubicBezTo>
                  <a:pt x="159" y="3123"/>
                  <a:pt x="150" y="3123"/>
                  <a:pt x="145" y="3131"/>
                </a:cubicBezTo>
                <a:cubicBezTo>
                  <a:pt x="168" y="3156"/>
                  <a:pt x="207" y="3149"/>
                  <a:pt x="230" y="3173"/>
                </a:cubicBezTo>
                <a:cubicBezTo>
                  <a:pt x="221" y="3182"/>
                  <a:pt x="203" y="3193"/>
                  <a:pt x="212" y="3205"/>
                </a:cubicBezTo>
                <a:cubicBezTo>
                  <a:pt x="225" y="3222"/>
                  <a:pt x="218" y="3230"/>
                  <a:pt x="208" y="3242"/>
                </a:cubicBezTo>
                <a:cubicBezTo>
                  <a:pt x="205" y="3246"/>
                  <a:pt x="203" y="3251"/>
                  <a:pt x="207" y="3255"/>
                </a:cubicBezTo>
                <a:cubicBezTo>
                  <a:pt x="211" y="3259"/>
                  <a:pt x="215" y="3257"/>
                  <a:pt x="217" y="3254"/>
                </a:cubicBezTo>
                <a:cubicBezTo>
                  <a:pt x="228" y="3234"/>
                  <a:pt x="238" y="3251"/>
                  <a:pt x="256" y="3254"/>
                </a:cubicBezTo>
                <a:cubicBezTo>
                  <a:pt x="228" y="3263"/>
                  <a:pt x="217" y="3292"/>
                  <a:pt x="194" y="3291"/>
                </a:cubicBezTo>
                <a:cubicBezTo>
                  <a:pt x="159" y="3288"/>
                  <a:pt x="165" y="3313"/>
                  <a:pt x="158" y="3331"/>
                </a:cubicBezTo>
                <a:cubicBezTo>
                  <a:pt x="158" y="3332"/>
                  <a:pt x="157" y="3332"/>
                  <a:pt x="156" y="3333"/>
                </a:cubicBezTo>
                <a:cubicBezTo>
                  <a:pt x="143" y="3341"/>
                  <a:pt x="125" y="3354"/>
                  <a:pt x="134" y="3368"/>
                </a:cubicBezTo>
                <a:cubicBezTo>
                  <a:pt x="145" y="3386"/>
                  <a:pt x="161" y="3364"/>
                  <a:pt x="175" y="3362"/>
                </a:cubicBezTo>
                <a:cubicBezTo>
                  <a:pt x="159" y="3381"/>
                  <a:pt x="159" y="3382"/>
                  <a:pt x="174" y="3393"/>
                </a:cubicBezTo>
                <a:cubicBezTo>
                  <a:pt x="182" y="3399"/>
                  <a:pt x="189" y="3401"/>
                  <a:pt x="190" y="3414"/>
                </a:cubicBezTo>
                <a:cubicBezTo>
                  <a:pt x="191" y="3427"/>
                  <a:pt x="210" y="3423"/>
                  <a:pt x="219" y="3431"/>
                </a:cubicBezTo>
                <a:cubicBezTo>
                  <a:pt x="222" y="3434"/>
                  <a:pt x="232" y="3423"/>
                  <a:pt x="232" y="3415"/>
                </a:cubicBezTo>
                <a:cubicBezTo>
                  <a:pt x="233" y="3408"/>
                  <a:pt x="237" y="3404"/>
                  <a:pt x="242" y="3399"/>
                </a:cubicBezTo>
                <a:cubicBezTo>
                  <a:pt x="260" y="3379"/>
                  <a:pt x="254" y="3357"/>
                  <a:pt x="228" y="3346"/>
                </a:cubicBezTo>
                <a:cubicBezTo>
                  <a:pt x="270" y="3348"/>
                  <a:pt x="246" y="3309"/>
                  <a:pt x="262" y="3294"/>
                </a:cubicBezTo>
                <a:cubicBezTo>
                  <a:pt x="284" y="3310"/>
                  <a:pt x="277" y="3332"/>
                  <a:pt x="274" y="3352"/>
                </a:cubicBezTo>
                <a:cubicBezTo>
                  <a:pt x="271" y="3366"/>
                  <a:pt x="264" y="3378"/>
                  <a:pt x="290" y="3376"/>
                </a:cubicBezTo>
                <a:cubicBezTo>
                  <a:pt x="312" y="3374"/>
                  <a:pt x="322" y="3413"/>
                  <a:pt x="351" y="3398"/>
                </a:cubicBezTo>
                <a:cubicBezTo>
                  <a:pt x="353" y="3421"/>
                  <a:pt x="379" y="3421"/>
                  <a:pt x="386" y="3438"/>
                </a:cubicBezTo>
                <a:cubicBezTo>
                  <a:pt x="391" y="3449"/>
                  <a:pt x="392" y="3463"/>
                  <a:pt x="411" y="3455"/>
                </a:cubicBezTo>
                <a:cubicBezTo>
                  <a:pt x="415" y="3453"/>
                  <a:pt x="416" y="3459"/>
                  <a:pt x="416" y="3463"/>
                </a:cubicBezTo>
                <a:cubicBezTo>
                  <a:pt x="417" y="3491"/>
                  <a:pt x="391" y="3503"/>
                  <a:pt x="381" y="3524"/>
                </a:cubicBezTo>
                <a:cubicBezTo>
                  <a:pt x="374" y="3536"/>
                  <a:pt x="362" y="3521"/>
                  <a:pt x="353" y="3518"/>
                </a:cubicBezTo>
                <a:cubicBezTo>
                  <a:pt x="328" y="3509"/>
                  <a:pt x="320" y="3514"/>
                  <a:pt x="324" y="3540"/>
                </a:cubicBezTo>
                <a:cubicBezTo>
                  <a:pt x="325" y="3550"/>
                  <a:pt x="320" y="3554"/>
                  <a:pt x="314" y="3559"/>
                </a:cubicBezTo>
                <a:cubicBezTo>
                  <a:pt x="308" y="3564"/>
                  <a:pt x="299" y="3566"/>
                  <a:pt x="295" y="3572"/>
                </a:cubicBezTo>
                <a:cubicBezTo>
                  <a:pt x="286" y="3582"/>
                  <a:pt x="282" y="3598"/>
                  <a:pt x="292" y="3606"/>
                </a:cubicBezTo>
                <a:cubicBezTo>
                  <a:pt x="302" y="3616"/>
                  <a:pt x="305" y="3597"/>
                  <a:pt x="312" y="3593"/>
                </a:cubicBezTo>
                <a:cubicBezTo>
                  <a:pt x="316" y="3591"/>
                  <a:pt x="319" y="3588"/>
                  <a:pt x="324" y="3592"/>
                </a:cubicBezTo>
                <a:cubicBezTo>
                  <a:pt x="323" y="3595"/>
                  <a:pt x="323" y="3599"/>
                  <a:pt x="321" y="3603"/>
                </a:cubicBezTo>
                <a:cubicBezTo>
                  <a:pt x="316" y="3620"/>
                  <a:pt x="319" y="3638"/>
                  <a:pt x="335" y="3645"/>
                </a:cubicBezTo>
                <a:cubicBezTo>
                  <a:pt x="354" y="3655"/>
                  <a:pt x="354" y="3632"/>
                  <a:pt x="362" y="3623"/>
                </a:cubicBezTo>
                <a:cubicBezTo>
                  <a:pt x="364" y="3621"/>
                  <a:pt x="365" y="3618"/>
                  <a:pt x="367" y="3616"/>
                </a:cubicBezTo>
                <a:cubicBezTo>
                  <a:pt x="371" y="3611"/>
                  <a:pt x="374" y="3605"/>
                  <a:pt x="380" y="3606"/>
                </a:cubicBezTo>
                <a:cubicBezTo>
                  <a:pt x="388" y="3607"/>
                  <a:pt x="387" y="3614"/>
                  <a:pt x="387" y="3620"/>
                </a:cubicBezTo>
                <a:cubicBezTo>
                  <a:pt x="388" y="3630"/>
                  <a:pt x="386" y="3640"/>
                  <a:pt x="398" y="3645"/>
                </a:cubicBezTo>
                <a:cubicBezTo>
                  <a:pt x="410" y="3649"/>
                  <a:pt x="413" y="3637"/>
                  <a:pt x="421" y="3632"/>
                </a:cubicBezTo>
                <a:cubicBezTo>
                  <a:pt x="420" y="3644"/>
                  <a:pt x="404" y="3663"/>
                  <a:pt x="429" y="3663"/>
                </a:cubicBezTo>
                <a:cubicBezTo>
                  <a:pt x="450" y="3662"/>
                  <a:pt x="446" y="3671"/>
                  <a:pt x="442" y="3682"/>
                </a:cubicBezTo>
                <a:cubicBezTo>
                  <a:pt x="430" y="3716"/>
                  <a:pt x="414" y="3750"/>
                  <a:pt x="425" y="3792"/>
                </a:cubicBezTo>
                <a:cubicBezTo>
                  <a:pt x="404" y="3780"/>
                  <a:pt x="387" y="3775"/>
                  <a:pt x="373" y="3791"/>
                </a:cubicBezTo>
                <a:cubicBezTo>
                  <a:pt x="369" y="3795"/>
                  <a:pt x="366" y="3796"/>
                  <a:pt x="360" y="3793"/>
                </a:cubicBezTo>
                <a:cubicBezTo>
                  <a:pt x="337" y="3782"/>
                  <a:pt x="325" y="3796"/>
                  <a:pt x="319" y="3816"/>
                </a:cubicBezTo>
                <a:cubicBezTo>
                  <a:pt x="314" y="3836"/>
                  <a:pt x="306" y="3838"/>
                  <a:pt x="293" y="3823"/>
                </a:cubicBezTo>
                <a:cubicBezTo>
                  <a:pt x="284" y="3814"/>
                  <a:pt x="275" y="3811"/>
                  <a:pt x="266" y="3822"/>
                </a:cubicBezTo>
                <a:cubicBezTo>
                  <a:pt x="257" y="3833"/>
                  <a:pt x="257" y="3843"/>
                  <a:pt x="271" y="3850"/>
                </a:cubicBezTo>
                <a:cubicBezTo>
                  <a:pt x="285" y="3858"/>
                  <a:pt x="285" y="3870"/>
                  <a:pt x="272" y="3877"/>
                </a:cubicBezTo>
                <a:cubicBezTo>
                  <a:pt x="254" y="3888"/>
                  <a:pt x="243" y="3901"/>
                  <a:pt x="243" y="3923"/>
                </a:cubicBezTo>
                <a:cubicBezTo>
                  <a:pt x="235" y="3905"/>
                  <a:pt x="204" y="3892"/>
                  <a:pt x="234" y="3868"/>
                </a:cubicBezTo>
                <a:cubicBezTo>
                  <a:pt x="239" y="3864"/>
                  <a:pt x="248" y="3861"/>
                  <a:pt x="243" y="3853"/>
                </a:cubicBezTo>
                <a:cubicBezTo>
                  <a:pt x="238" y="3845"/>
                  <a:pt x="228" y="3849"/>
                  <a:pt x="221" y="3849"/>
                </a:cubicBezTo>
                <a:cubicBezTo>
                  <a:pt x="214" y="3850"/>
                  <a:pt x="201" y="3853"/>
                  <a:pt x="205" y="3861"/>
                </a:cubicBezTo>
                <a:cubicBezTo>
                  <a:pt x="217" y="3889"/>
                  <a:pt x="205" y="3889"/>
                  <a:pt x="183" y="3884"/>
                </a:cubicBezTo>
                <a:cubicBezTo>
                  <a:pt x="176" y="3882"/>
                  <a:pt x="169" y="3886"/>
                  <a:pt x="168" y="3894"/>
                </a:cubicBezTo>
                <a:cubicBezTo>
                  <a:pt x="168" y="3904"/>
                  <a:pt x="176" y="3902"/>
                  <a:pt x="183" y="3901"/>
                </a:cubicBezTo>
                <a:cubicBezTo>
                  <a:pt x="194" y="3898"/>
                  <a:pt x="203" y="3903"/>
                  <a:pt x="215" y="3907"/>
                </a:cubicBezTo>
                <a:cubicBezTo>
                  <a:pt x="196" y="3924"/>
                  <a:pt x="190" y="3938"/>
                  <a:pt x="214" y="3954"/>
                </a:cubicBezTo>
                <a:cubicBezTo>
                  <a:pt x="223" y="3960"/>
                  <a:pt x="230" y="3972"/>
                  <a:pt x="223" y="3990"/>
                </a:cubicBezTo>
                <a:cubicBezTo>
                  <a:pt x="217" y="4007"/>
                  <a:pt x="218" y="4030"/>
                  <a:pt x="234" y="4050"/>
                </a:cubicBezTo>
                <a:cubicBezTo>
                  <a:pt x="219" y="4043"/>
                  <a:pt x="214" y="4053"/>
                  <a:pt x="207" y="4060"/>
                </a:cubicBezTo>
                <a:cubicBezTo>
                  <a:pt x="201" y="4067"/>
                  <a:pt x="191" y="4074"/>
                  <a:pt x="197" y="4085"/>
                </a:cubicBezTo>
                <a:cubicBezTo>
                  <a:pt x="204" y="4094"/>
                  <a:pt x="214" y="4091"/>
                  <a:pt x="223" y="4084"/>
                </a:cubicBezTo>
                <a:cubicBezTo>
                  <a:pt x="234" y="4075"/>
                  <a:pt x="234" y="4088"/>
                  <a:pt x="241" y="4094"/>
                </a:cubicBezTo>
                <a:cubicBezTo>
                  <a:pt x="211" y="4094"/>
                  <a:pt x="198" y="4122"/>
                  <a:pt x="173" y="4131"/>
                </a:cubicBezTo>
                <a:cubicBezTo>
                  <a:pt x="160" y="4135"/>
                  <a:pt x="155" y="4137"/>
                  <a:pt x="159" y="4122"/>
                </a:cubicBezTo>
                <a:cubicBezTo>
                  <a:pt x="161" y="4112"/>
                  <a:pt x="159" y="4106"/>
                  <a:pt x="151" y="4102"/>
                </a:cubicBezTo>
                <a:cubicBezTo>
                  <a:pt x="143" y="4099"/>
                  <a:pt x="139" y="4106"/>
                  <a:pt x="134" y="4110"/>
                </a:cubicBezTo>
                <a:cubicBezTo>
                  <a:pt x="125" y="4116"/>
                  <a:pt x="123" y="4130"/>
                  <a:pt x="109" y="4128"/>
                </a:cubicBezTo>
                <a:cubicBezTo>
                  <a:pt x="98" y="4127"/>
                  <a:pt x="86" y="4127"/>
                  <a:pt x="86" y="4143"/>
                </a:cubicBezTo>
                <a:cubicBezTo>
                  <a:pt x="87" y="4155"/>
                  <a:pt x="89" y="4168"/>
                  <a:pt x="107" y="4168"/>
                </a:cubicBezTo>
                <a:cubicBezTo>
                  <a:pt x="122" y="4168"/>
                  <a:pt x="119" y="4173"/>
                  <a:pt x="112" y="4185"/>
                </a:cubicBezTo>
                <a:cubicBezTo>
                  <a:pt x="106" y="4195"/>
                  <a:pt x="87" y="4219"/>
                  <a:pt x="121" y="4227"/>
                </a:cubicBezTo>
                <a:cubicBezTo>
                  <a:pt x="108" y="4235"/>
                  <a:pt x="100" y="4246"/>
                  <a:pt x="87" y="4254"/>
                </a:cubicBezTo>
                <a:cubicBezTo>
                  <a:pt x="76" y="4261"/>
                  <a:pt x="75" y="4276"/>
                  <a:pt x="78" y="4289"/>
                </a:cubicBezTo>
                <a:cubicBezTo>
                  <a:pt x="81" y="4304"/>
                  <a:pt x="92" y="4296"/>
                  <a:pt x="101" y="4294"/>
                </a:cubicBezTo>
                <a:cubicBezTo>
                  <a:pt x="107" y="4293"/>
                  <a:pt x="115" y="4294"/>
                  <a:pt x="115" y="4301"/>
                </a:cubicBezTo>
                <a:cubicBezTo>
                  <a:pt x="114" y="4318"/>
                  <a:pt x="113" y="4336"/>
                  <a:pt x="108" y="4352"/>
                </a:cubicBezTo>
                <a:cubicBezTo>
                  <a:pt x="106" y="4361"/>
                  <a:pt x="94" y="4360"/>
                  <a:pt x="85" y="4361"/>
                </a:cubicBezTo>
                <a:cubicBezTo>
                  <a:pt x="79" y="4361"/>
                  <a:pt x="71" y="4364"/>
                  <a:pt x="73" y="4371"/>
                </a:cubicBezTo>
                <a:cubicBezTo>
                  <a:pt x="79" y="4400"/>
                  <a:pt x="60" y="4408"/>
                  <a:pt x="39" y="4414"/>
                </a:cubicBezTo>
                <a:cubicBezTo>
                  <a:pt x="33" y="4416"/>
                  <a:pt x="29" y="4420"/>
                  <a:pt x="28" y="4426"/>
                </a:cubicBezTo>
                <a:cubicBezTo>
                  <a:pt x="27" y="4437"/>
                  <a:pt x="36" y="4434"/>
                  <a:pt x="41" y="4437"/>
                </a:cubicBezTo>
                <a:cubicBezTo>
                  <a:pt x="64" y="4451"/>
                  <a:pt x="83" y="4437"/>
                  <a:pt x="98" y="4426"/>
                </a:cubicBezTo>
                <a:cubicBezTo>
                  <a:pt x="111" y="4415"/>
                  <a:pt x="112" y="4421"/>
                  <a:pt x="122" y="4429"/>
                </a:cubicBezTo>
                <a:cubicBezTo>
                  <a:pt x="144" y="4448"/>
                  <a:pt x="126" y="4467"/>
                  <a:pt x="125" y="4485"/>
                </a:cubicBezTo>
                <a:cubicBezTo>
                  <a:pt x="123" y="4506"/>
                  <a:pt x="116" y="4524"/>
                  <a:pt x="85" y="4520"/>
                </a:cubicBezTo>
                <a:cubicBezTo>
                  <a:pt x="52" y="4516"/>
                  <a:pt x="47" y="4528"/>
                  <a:pt x="57" y="4559"/>
                </a:cubicBezTo>
                <a:cubicBezTo>
                  <a:pt x="61" y="4569"/>
                  <a:pt x="63" y="4579"/>
                  <a:pt x="65" y="4590"/>
                </a:cubicBezTo>
                <a:cubicBezTo>
                  <a:pt x="66" y="4596"/>
                  <a:pt x="65" y="4605"/>
                  <a:pt x="59" y="4604"/>
                </a:cubicBezTo>
                <a:cubicBezTo>
                  <a:pt x="32" y="4596"/>
                  <a:pt x="32" y="4620"/>
                  <a:pt x="21" y="4631"/>
                </a:cubicBezTo>
                <a:cubicBezTo>
                  <a:pt x="10" y="4642"/>
                  <a:pt x="0" y="4655"/>
                  <a:pt x="18" y="4667"/>
                </a:cubicBezTo>
                <a:cubicBezTo>
                  <a:pt x="32" y="4677"/>
                  <a:pt x="47" y="4686"/>
                  <a:pt x="64" y="4668"/>
                </a:cubicBezTo>
                <a:cubicBezTo>
                  <a:pt x="70" y="4661"/>
                  <a:pt x="79" y="4652"/>
                  <a:pt x="91" y="4653"/>
                </a:cubicBezTo>
                <a:cubicBezTo>
                  <a:pt x="103" y="4653"/>
                  <a:pt x="118" y="4650"/>
                  <a:pt x="107" y="4671"/>
                </a:cubicBezTo>
                <a:cubicBezTo>
                  <a:pt x="102" y="4679"/>
                  <a:pt x="109" y="4689"/>
                  <a:pt x="116" y="4694"/>
                </a:cubicBezTo>
                <a:cubicBezTo>
                  <a:pt x="121" y="4699"/>
                  <a:pt x="129" y="4699"/>
                  <a:pt x="134" y="4692"/>
                </a:cubicBezTo>
                <a:cubicBezTo>
                  <a:pt x="149" y="4666"/>
                  <a:pt x="172" y="4677"/>
                  <a:pt x="194" y="4676"/>
                </a:cubicBezTo>
                <a:cubicBezTo>
                  <a:pt x="192" y="4688"/>
                  <a:pt x="178" y="4703"/>
                  <a:pt x="194" y="4707"/>
                </a:cubicBezTo>
                <a:cubicBezTo>
                  <a:pt x="227" y="4715"/>
                  <a:pt x="204" y="4728"/>
                  <a:pt x="199" y="4739"/>
                </a:cubicBezTo>
                <a:cubicBezTo>
                  <a:pt x="196" y="4747"/>
                  <a:pt x="180" y="4751"/>
                  <a:pt x="187" y="4762"/>
                </a:cubicBezTo>
                <a:cubicBezTo>
                  <a:pt x="198" y="4782"/>
                  <a:pt x="193" y="4805"/>
                  <a:pt x="185" y="4818"/>
                </a:cubicBezTo>
                <a:cubicBezTo>
                  <a:pt x="165" y="4852"/>
                  <a:pt x="199" y="4855"/>
                  <a:pt x="210" y="4870"/>
                </a:cubicBezTo>
                <a:cubicBezTo>
                  <a:pt x="214" y="4876"/>
                  <a:pt x="224" y="4873"/>
                  <a:pt x="228" y="4867"/>
                </a:cubicBezTo>
                <a:cubicBezTo>
                  <a:pt x="254" y="4832"/>
                  <a:pt x="285" y="4831"/>
                  <a:pt x="320" y="4849"/>
                </a:cubicBezTo>
                <a:cubicBezTo>
                  <a:pt x="334" y="4856"/>
                  <a:pt x="345" y="4860"/>
                  <a:pt x="344" y="4838"/>
                </a:cubicBezTo>
                <a:cubicBezTo>
                  <a:pt x="344" y="4833"/>
                  <a:pt x="345" y="4828"/>
                  <a:pt x="351" y="4827"/>
                </a:cubicBezTo>
                <a:cubicBezTo>
                  <a:pt x="358" y="4825"/>
                  <a:pt x="358" y="4832"/>
                  <a:pt x="361" y="4836"/>
                </a:cubicBezTo>
                <a:cubicBezTo>
                  <a:pt x="365" y="4843"/>
                  <a:pt x="370" y="4852"/>
                  <a:pt x="381" y="4848"/>
                </a:cubicBezTo>
                <a:cubicBezTo>
                  <a:pt x="408" y="4836"/>
                  <a:pt x="448" y="4850"/>
                  <a:pt x="461" y="4808"/>
                </a:cubicBezTo>
                <a:cubicBezTo>
                  <a:pt x="462" y="4805"/>
                  <a:pt x="467" y="4803"/>
                  <a:pt x="469" y="4801"/>
                </a:cubicBezTo>
                <a:cubicBezTo>
                  <a:pt x="462" y="4824"/>
                  <a:pt x="461" y="4849"/>
                  <a:pt x="444" y="4868"/>
                </a:cubicBezTo>
                <a:cubicBezTo>
                  <a:pt x="439" y="4873"/>
                  <a:pt x="433" y="4879"/>
                  <a:pt x="442" y="4885"/>
                </a:cubicBezTo>
                <a:cubicBezTo>
                  <a:pt x="448" y="4889"/>
                  <a:pt x="455" y="4884"/>
                  <a:pt x="459" y="4879"/>
                </a:cubicBezTo>
                <a:cubicBezTo>
                  <a:pt x="464" y="4872"/>
                  <a:pt x="471" y="4858"/>
                  <a:pt x="473" y="4858"/>
                </a:cubicBezTo>
                <a:cubicBezTo>
                  <a:pt x="503" y="4869"/>
                  <a:pt x="534" y="4847"/>
                  <a:pt x="561" y="4859"/>
                </a:cubicBezTo>
                <a:cubicBezTo>
                  <a:pt x="571" y="4864"/>
                  <a:pt x="577" y="4867"/>
                  <a:pt x="586" y="4862"/>
                </a:cubicBezTo>
                <a:cubicBezTo>
                  <a:pt x="595" y="4858"/>
                  <a:pt x="604" y="4858"/>
                  <a:pt x="614" y="4860"/>
                </a:cubicBezTo>
                <a:cubicBezTo>
                  <a:pt x="633" y="4862"/>
                  <a:pt x="656" y="4866"/>
                  <a:pt x="670" y="4857"/>
                </a:cubicBezTo>
                <a:cubicBezTo>
                  <a:pt x="691" y="4843"/>
                  <a:pt x="714" y="4827"/>
                  <a:pt x="721" y="4802"/>
                </a:cubicBezTo>
                <a:cubicBezTo>
                  <a:pt x="748" y="4848"/>
                  <a:pt x="690" y="4876"/>
                  <a:pt x="692" y="4923"/>
                </a:cubicBezTo>
                <a:cubicBezTo>
                  <a:pt x="710" y="4912"/>
                  <a:pt x="709" y="4896"/>
                  <a:pt x="721" y="4888"/>
                </a:cubicBezTo>
                <a:cubicBezTo>
                  <a:pt x="742" y="4872"/>
                  <a:pt x="753" y="4853"/>
                  <a:pt x="737" y="4825"/>
                </a:cubicBezTo>
                <a:cubicBezTo>
                  <a:pt x="733" y="4819"/>
                  <a:pt x="736" y="4808"/>
                  <a:pt x="737" y="4800"/>
                </a:cubicBezTo>
                <a:cubicBezTo>
                  <a:pt x="743" y="4758"/>
                  <a:pt x="763" y="4721"/>
                  <a:pt x="783" y="4685"/>
                </a:cubicBezTo>
                <a:cubicBezTo>
                  <a:pt x="791" y="4669"/>
                  <a:pt x="803" y="4661"/>
                  <a:pt x="820" y="4657"/>
                </a:cubicBezTo>
                <a:cubicBezTo>
                  <a:pt x="825" y="4669"/>
                  <a:pt x="811" y="4684"/>
                  <a:pt x="827" y="4690"/>
                </a:cubicBezTo>
                <a:cubicBezTo>
                  <a:pt x="841" y="4695"/>
                  <a:pt x="854" y="4689"/>
                  <a:pt x="865" y="4677"/>
                </a:cubicBezTo>
                <a:cubicBezTo>
                  <a:pt x="873" y="4711"/>
                  <a:pt x="860" y="4733"/>
                  <a:pt x="830" y="4740"/>
                </a:cubicBezTo>
                <a:cubicBezTo>
                  <a:pt x="820" y="4742"/>
                  <a:pt x="810" y="4742"/>
                  <a:pt x="804" y="4750"/>
                </a:cubicBezTo>
                <a:cubicBezTo>
                  <a:pt x="801" y="4754"/>
                  <a:pt x="796" y="4758"/>
                  <a:pt x="799" y="4763"/>
                </a:cubicBezTo>
                <a:cubicBezTo>
                  <a:pt x="802" y="4770"/>
                  <a:pt x="809" y="4769"/>
                  <a:pt x="814" y="4766"/>
                </a:cubicBezTo>
                <a:cubicBezTo>
                  <a:pt x="845" y="4744"/>
                  <a:pt x="859" y="4771"/>
                  <a:pt x="877" y="4787"/>
                </a:cubicBezTo>
                <a:cubicBezTo>
                  <a:pt x="886" y="4794"/>
                  <a:pt x="879" y="4797"/>
                  <a:pt x="874" y="4802"/>
                </a:cubicBezTo>
                <a:cubicBezTo>
                  <a:pt x="851" y="4827"/>
                  <a:pt x="852" y="4828"/>
                  <a:pt x="875" y="4855"/>
                </a:cubicBezTo>
                <a:cubicBezTo>
                  <a:pt x="878" y="4845"/>
                  <a:pt x="880" y="4836"/>
                  <a:pt x="883" y="4827"/>
                </a:cubicBezTo>
                <a:cubicBezTo>
                  <a:pt x="889" y="4810"/>
                  <a:pt x="933" y="4796"/>
                  <a:pt x="946" y="4807"/>
                </a:cubicBezTo>
                <a:cubicBezTo>
                  <a:pt x="957" y="4818"/>
                  <a:pt x="962" y="4831"/>
                  <a:pt x="982" y="4814"/>
                </a:cubicBezTo>
                <a:cubicBezTo>
                  <a:pt x="993" y="4804"/>
                  <a:pt x="1006" y="4800"/>
                  <a:pt x="1010" y="4783"/>
                </a:cubicBezTo>
                <a:cubicBezTo>
                  <a:pt x="1018" y="4749"/>
                  <a:pt x="1028" y="4716"/>
                  <a:pt x="1060" y="4695"/>
                </a:cubicBezTo>
                <a:cubicBezTo>
                  <a:pt x="1067" y="4690"/>
                  <a:pt x="1083" y="4685"/>
                  <a:pt x="1080" y="4673"/>
                </a:cubicBezTo>
                <a:cubicBezTo>
                  <a:pt x="1076" y="4654"/>
                  <a:pt x="1091" y="4646"/>
                  <a:pt x="1099" y="4628"/>
                </a:cubicBezTo>
                <a:cubicBezTo>
                  <a:pt x="1105" y="4643"/>
                  <a:pt x="1108" y="4653"/>
                  <a:pt x="1112" y="4662"/>
                </a:cubicBezTo>
                <a:cubicBezTo>
                  <a:pt x="1115" y="4668"/>
                  <a:pt x="1120" y="4676"/>
                  <a:pt x="1127" y="4674"/>
                </a:cubicBezTo>
                <a:cubicBezTo>
                  <a:pt x="1136" y="4670"/>
                  <a:pt x="1130" y="4663"/>
                  <a:pt x="1128" y="4656"/>
                </a:cubicBezTo>
                <a:cubicBezTo>
                  <a:pt x="1124" y="4640"/>
                  <a:pt x="1120" y="4625"/>
                  <a:pt x="1117" y="4608"/>
                </a:cubicBezTo>
                <a:cubicBezTo>
                  <a:pt x="1115" y="4601"/>
                  <a:pt x="1119" y="4593"/>
                  <a:pt x="1127" y="4593"/>
                </a:cubicBezTo>
                <a:cubicBezTo>
                  <a:pt x="1134" y="4593"/>
                  <a:pt x="1135" y="4601"/>
                  <a:pt x="1133" y="4607"/>
                </a:cubicBezTo>
                <a:cubicBezTo>
                  <a:pt x="1127" y="4626"/>
                  <a:pt x="1139" y="4622"/>
                  <a:pt x="1148" y="4617"/>
                </a:cubicBezTo>
                <a:cubicBezTo>
                  <a:pt x="1171" y="4606"/>
                  <a:pt x="1194" y="4594"/>
                  <a:pt x="1216" y="4581"/>
                </a:cubicBezTo>
                <a:cubicBezTo>
                  <a:pt x="1224" y="4576"/>
                  <a:pt x="1230" y="4565"/>
                  <a:pt x="1241" y="4573"/>
                </a:cubicBezTo>
                <a:cubicBezTo>
                  <a:pt x="1250" y="4581"/>
                  <a:pt x="1240" y="4589"/>
                  <a:pt x="1237" y="4597"/>
                </a:cubicBezTo>
                <a:cubicBezTo>
                  <a:pt x="1235" y="4601"/>
                  <a:pt x="1233" y="4606"/>
                  <a:pt x="1238" y="4609"/>
                </a:cubicBezTo>
                <a:cubicBezTo>
                  <a:pt x="1244" y="4612"/>
                  <a:pt x="1247" y="4608"/>
                  <a:pt x="1250" y="4603"/>
                </a:cubicBezTo>
                <a:cubicBezTo>
                  <a:pt x="1252" y="4599"/>
                  <a:pt x="1255" y="4595"/>
                  <a:pt x="1259" y="4589"/>
                </a:cubicBezTo>
                <a:cubicBezTo>
                  <a:pt x="1274" y="4619"/>
                  <a:pt x="1287" y="4648"/>
                  <a:pt x="1319" y="4663"/>
                </a:cubicBezTo>
                <a:cubicBezTo>
                  <a:pt x="1305" y="4667"/>
                  <a:pt x="1293" y="4664"/>
                  <a:pt x="1285" y="4675"/>
                </a:cubicBezTo>
                <a:cubicBezTo>
                  <a:pt x="1279" y="4684"/>
                  <a:pt x="1276" y="4695"/>
                  <a:pt x="1288" y="4696"/>
                </a:cubicBezTo>
                <a:cubicBezTo>
                  <a:pt x="1314" y="4700"/>
                  <a:pt x="1321" y="4714"/>
                  <a:pt x="1317" y="4738"/>
                </a:cubicBezTo>
                <a:cubicBezTo>
                  <a:pt x="1315" y="4744"/>
                  <a:pt x="1319" y="4750"/>
                  <a:pt x="1327" y="4751"/>
                </a:cubicBezTo>
                <a:cubicBezTo>
                  <a:pt x="1334" y="4738"/>
                  <a:pt x="1338" y="4724"/>
                  <a:pt x="1337" y="4708"/>
                </a:cubicBezTo>
                <a:cubicBezTo>
                  <a:pt x="1339" y="4724"/>
                  <a:pt x="1343" y="4736"/>
                  <a:pt x="1362" y="4742"/>
                </a:cubicBezTo>
                <a:cubicBezTo>
                  <a:pt x="1392" y="4751"/>
                  <a:pt x="1402" y="4731"/>
                  <a:pt x="1412" y="4710"/>
                </a:cubicBezTo>
                <a:cubicBezTo>
                  <a:pt x="1421" y="4715"/>
                  <a:pt x="1420" y="4721"/>
                  <a:pt x="1421" y="4727"/>
                </a:cubicBezTo>
                <a:cubicBezTo>
                  <a:pt x="1424" y="4744"/>
                  <a:pt x="1437" y="4740"/>
                  <a:pt x="1441" y="4732"/>
                </a:cubicBezTo>
                <a:cubicBezTo>
                  <a:pt x="1448" y="4715"/>
                  <a:pt x="1470" y="4695"/>
                  <a:pt x="1442" y="4678"/>
                </a:cubicBezTo>
                <a:cubicBezTo>
                  <a:pt x="1434" y="4673"/>
                  <a:pt x="1439" y="4673"/>
                  <a:pt x="1441" y="4669"/>
                </a:cubicBezTo>
                <a:cubicBezTo>
                  <a:pt x="1453" y="4649"/>
                  <a:pt x="1437" y="4648"/>
                  <a:pt x="1425" y="4646"/>
                </a:cubicBezTo>
                <a:cubicBezTo>
                  <a:pt x="1417" y="4645"/>
                  <a:pt x="1405" y="4651"/>
                  <a:pt x="1403" y="4639"/>
                </a:cubicBezTo>
                <a:cubicBezTo>
                  <a:pt x="1401" y="4630"/>
                  <a:pt x="1399" y="4617"/>
                  <a:pt x="1410" y="4610"/>
                </a:cubicBezTo>
                <a:cubicBezTo>
                  <a:pt x="1421" y="4604"/>
                  <a:pt x="1421" y="4597"/>
                  <a:pt x="1413" y="4589"/>
                </a:cubicBezTo>
                <a:cubicBezTo>
                  <a:pt x="1400" y="4578"/>
                  <a:pt x="1417" y="4572"/>
                  <a:pt x="1418" y="4562"/>
                </a:cubicBezTo>
                <a:cubicBezTo>
                  <a:pt x="1418" y="4556"/>
                  <a:pt x="1426" y="4554"/>
                  <a:pt x="1434" y="4556"/>
                </a:cubicBezTo>
                <a:cubicBezTo>
                  <a:pt x="1466" y="4561"/>
                  <a:pt x="1474" y="4555"/>
                  <a:pt x="1473" y="4523"/>
                </a:cubicBezTo>
                <a:cubicBezTo>
                  <a:pt x="1472" y="4516"/>
                  <a:pt x="1471" y="4508"/>
                  <a:pt x="1473" y="4502"/>
                </a:cubicBezTo>
                <a:cubicBezTo>
                  <a:pt x="1477" y="4493"/>
                  <a:pt x="1475" y="4475"/>
                  <a:pt x="1493" y="4481"/>
                </a:cubicBezTo>
                <a:cubicBezTo>
                  <a:pt x="1505" y="4485"/>
                  <a:pt x="1514" y="4492"/>
                  <a:pt x="1507" y="4511"/>
                </a:cubicBezTo>
                <a:cubicBezTo>
                  <a:pt x="1496" y="4540"/>
                  <a:pt x="1508" y="4566"/>
                  <a:pt x="1536" y="4578"/>
                </a:cubicBezTo>
                <a:cubicBezTo>
                  <a:pt x="1553" y="4586"/>
                  <a:pt x="1552" y="4597"/>
                  <a:pt x="1547" y="4611"/>
                </a:cubicBezTo>
                <a:cubicBezTo>
                  <a:pt x="1541" y="4625"/>
                  <a:pt x="1539" y="4639"/>
                  <a:pt x="1555" y="4647"/>
                </a:cubicBezTo>
                <a:cubicBezTo>
                  <a:pt x="1584" y="4660"/>
                  <a:pt x="1581" y="4682"/>
                  <a:pt x="1571" y="4705"/>
                </a:cubicBezTo>
                <a:cubicBezTo>
                  <a:pt x="1561" y="4727"/>
                  <a:pt x="1561" y="4750"/>
                  <a:pt x="1564" y="4773"/>
                </a:cubicBezTo>
                <a:cubicBezTo>
                  <a:pt x="1573" y="4763"/>
                  <a:pt x="1568" y="4751"/>
                  <a:pt x="1570" y="4741"/>
                </a:cubicBezTo>
                <a:cubicBezTo>
                  <a:pt x="1574" y="4723"/>
                  <a:pt x="1579" y="4704"/>
                  <a:pt x="1600" y="4699"/>
                </a:cubicBezTo>
                <a:cubicBezTo>
                  <a:pt x="1608" y="4697"/>
                  <a:pt x="1621" y="4710"/>
                  <a:pt x="1622" y="4692"/>
                </a:cubicBezTo>
                <a:cubicBezTo>
                  <a:pt x="1622" y="4682"/>
                  <a:pt x="1623" y="4671"/>
                  <a:pt x="1604" y="4669"/>
                </a:cubicBezTo>
                <a:cubicBezTo>
                  <a:pt x="1588" y="4667"/>
                  <a:pt x="1578" y="4649"/>
                  <a:pt x="1572" y="4634"/>
                </a:cubicBezTo>
                <a:cubicBezTo>
                  <a:pt x="1568" y="4627"/>
                  <a:pt x="1576" y="4617"/>
                  <a:pt x="1587" y="4614"/>
                </a:cubicBezTo>
                <a:cubicBezTo>
                  <a:pt x="1595" y="4647"/>
                  <a:pt x="1595" y="4647"/>
                  <a:pt x="1652" y="4635"/>
                </a:cubicBezTo>
                <a:cubicBezTo>
                  <a:pt x="1646" y="4650"/>
                  <a:pt x="1653" y="4666"/>
                  <a:pt x="1646" y="4680"/>
                </a:cubicBezTo>
                <a:cubicBezTo>
                  <a:pt x="1642" y="4688"/>
                  <a:pt x="1636" y="4697"/>
                  <a:pt x="1648" y="4703"/>
                </a:cubicBezTo>
                <a:cubicBezTo>
                  <a:pt x="1658" y="4707"/>
                  <a:pt x="1668" y="4710"/>
                  <a:pt x="1673" y="4695"/>
                </a:cubicBezTo>
                <a:cubicBezTo>
                  <a:pt x="1674" y="4690"/>
                  <a:pt x="1680" y="4686"/>
                  <a:pt x="1685" y="4689"/>
                </a:cubicBezTo>
                <a:cubicBezTo>
                  <a:pt x="1692" y="4694"/>
                  <a:pt x="1687" y="4699"/>
                  <a:pt x="1684" y="4704"/>
                </a:cubicBezTo>
                <a:cubicBezTo>
                  <a:pt x="1681" y="4709"/>
                  <a:pt x="1678" y="4716"/>
                  <a:pt x="1674" y="4717"/>
                </a:cubicBezTo>
                <a:cubicBezTo>
                  <a:pt x="1631" y="4729"/>
                  <a:pt x="1633" y="4766"/>
                  <a:pt x="1628" y="4799"/>
                </a:cubicBezTo>
                <a:cubicBezTo>
                  <a:pt x="1627" y="4806"/>
                  <a:pt x="1628" y="4812"/>
                  <a:pt x="1634" y="4813"/>
                </a:cubicBezTo>
                <a:cubicBezTo>
                  <a:pt x="1648" y="4814"/>
                  <a:pt x="1646" y="4821"/>
                  <a:pt x="1641" y="4829"/>
                </a:cubicBezTo>
                <a:cubicBezTo>
                  <a:pt x="1636" y="4837"/>
                  <a:pt x="1637" y="4852"/>
                  <a:pt x="1619" y="4842"/>
                </a:cubicBezTo>
                <a:cubicBezTo>
                  <a:pt x="1607" y="4836"/>
                  <a:pt x="1591" y="4848"/>
                  <a:pt x="1599" y="4860"/>
                </a:cubicBezTo>
                <a:cubicBezTo>
                  <a:pt x="1615" y="4883"/>
                  <a:pt x="1594" y="4903"/>
                  <a:pt x="1605" y="4927"/>
                </a:cubicBezTo>
                <a:cubicBezTo>
                  <a:pt x="1590" y="4916"/>
                  <a:pt x="1590" y="4916"/>
                  <a:pt x="1587" y="4919"/>
                </a:cubicBezTo>
                <a:cubicBezTo>
                  <a:pt x="1554" y="4945"/>
                  <a:pt x="1538" y="4982"/>
                  <a:pt x="1521" y="5019"/>
                </a:cubicBezTo>
                <a:cubicBezTo>
                  <a:pt x="1519" y="5025"/>
                  <a:pt x="1519" y="5035"/>
                  <a:pt x="1525" y="5037"/>
                </a:cubicBezTo>
                <a:cubicBezTo>
                  <a:pt x="1534" y="5041"/>
                  <a:pt x="1538" y="5032"/>
                  <a:pt x="1543" y="5026"/>
                </a:cubicBezTo>
                <a:cubicBezTo>
                  <a:pt x="1553" y="5011"/>
                  <a:pt x="1552" y="5011"/>
                  <a:pt x="1561" y="5008"/>
                </a:cubicBezTo>
                <a:cubicBezTo>
                  <a:pt x="1541" y="5045"/>
                  <a:pt x="1539" y="5054"/>
                  <a:pt x="1545" y="5075"/>
                </a:cubicBezTo>
                <a:cubicBezTo>
                  <a:pt x="1547" y="5080"/>
                  <a:pt x="1540" y="5091"/>
                  <a:pt x="1553" y="5090"/>
                </a:cubicBezTo>
                <a:cubicBezTo>
                  <a:pt x="1561" y="5089"/>
                  <a:pt x="1568" y="5089"/>
                  <a:pt x="1563" y="5076"/>
                </a:cubicBezTo>
                <a:cubicBezTo>
                  <a:pt x="1561" y="5070"/>
                  <a:pt x="1569" y="5059"/>
                  <a:pt x="1578" y="5054"/>
                </a:cubicBezTo>
                <a:cubicBezTo>
                  <a:pt x="1583" y="5059"/>
                  <a:pt x="1584" y="5063"/>
                  <a:pt x="1582" y="5068"/>
                </a:cubicBezTo>
                <a:cubicBezTo>
                  <a:pt x="1578" y="5074"/>
                  <a:pt x="1574" y="5079"/>
                  <a:pt x="1580" y="5086"/>
                </a:cubicBezTo>
                <a:cubicBezTo>
                  <a:pt x="1588" y="5094"/>
                  <a:pt x="1593" y="5087"/>
                  <a:pt x="1600" y="5085"/>
                </a:cubicBezTo>
                <a:cubicBezTo>
                  <a:pt x="1619" y="5081"/>
                  <a:pt x="1639" y="5080"/>
                  <a:pt x="1658" y="5077"/>
                </a:cubicBezTo>
                <a:cubicBezTo>
                  <a:pt x="1663" y="5076"/>
                  <a:pt x="1670" y="5070"/>
                  <a:pt x="1673" y="5078"/>
                </a:cubicBezTo>
                <a:cubicBezTo>
                  <a:pt x="1675" y="5085"/>
                  <a:pt x="1672" y="5094"/>
                  <a:pt x="1665" y="5095"/>
                </a:cubicBezTo>
                <a:cubicBezTo>
                  <a:pt x="1654" y="5096"/>
                  <a:pt x="1649" y="5112"/>
                  <a:pt x="1635" y="5107"/>
                </a:cubicBezTo>
                <a:cubicBezTo>
                  <a:pt x="1630" y="5106"/>
                  <a:pt x="1620" y="5110"/>
                  <a:pt x="1622" y="5119"/>
                </a:cubicBezTo>
                <a:cubicBezTo>
                  <a:pt x="1625" y="5136"/>
                  <a:pt x="1613" y="5140"/>
                  <a:pt x="1603" y="5148"/>
                </a:cubicBezTo>
                <a:cubicBezTo>
                  <a:pt x="1565" y="5176"/>
                  <a:pt x="1565" y="5177"/>
                  <a:pt x="1590" y="5217"/>
                </a:cubicBezTo>
                <a:cubicBezTo>
                  <a:pt x="1601" y="5235"/>
                  <a:pt x="1611" y="5240"/>
                  <a:pt x="1622" y="5217"/>
                </a:cubicBezTo>
                <a:cubicBezTo>
                  <a:pt x="1624" y="5212"/>
                  <a:pt x="1627" y="5208"/>
                  <a:pt x="1631" y="5203"/>
                </a:cubicBezTo>
                <a:cubicBezTo>
                  <a:pt x="1633" y="5222"/>
                  <a:pt x="1653" y="5236"/>
                  <a:pt x="1643" y="5256"/>
                </a:cubicBezTo>
                <a:cubicBezTo>
                  <a:pt x="1641" y="5260"/>
                  <a:pt x="1643" y="5266"/>
                  <a:pt x="1649" y="5268"/>
                </a:cubicBezTo>
                <a:cubicBezTo>
                  <a:pt x="1654" y="5270"/>
                  <a:pt x="1659" y="5266"/>
                  <a:pt x="1661" y="5262"/>
                </a:cubicBezTo>
                <a:cubicBezTo>
                  <a:pt x="1670" y="5242"/>
                  <a:pt x="1690" y="5246"/>
                  <a:pt x="1703" y="5249"/>
                </a:cubicBezTo>
                <a:cubicBezTo>
                  <a:pt x="1713" y="5252"/>
                  <a:pt x="1711" y="5271"/>
                  <a:pt x="1711" y="5283"/>
                </a:cubicBezTo>
                <a:cubicBezTo>
                  <a:pt x="1711" y="5292"/>
                  <a:pt x="1709" y="5302"/>
                  <a:pt x="1722" y="5303"/>
                </a:cubicBezTo>
                <a:cubicBezTo>
                  <a:pt x="1724" y="5304"/>
                  <a:pt x="1728" y="5298"/>
                  <a:pt x="1731" y="5301"/>
                </a:cubicBezTo>
                <a:cubicBezTo>
                  <a:pt x="1733" y="5303"/>
                  <a:pt x="1732" y="5308"/>
                  <a:pt x="1731" y="5312"/>
                </a:cubicBezTo>
                <a:cubicBezTo>
                  <a:pt x="1728" y="5328"/>
                  <a:pt x="1736" y="5326"/>
                  <a:pt x="1749" y="5322"/>
                </a:cubicBezTo>
                <a:cubicBezTo>
                  <a:pt x="1742" y="5330"/>
                  <a:pt x="1735" y="5335"/>
                  <a:pt x="1729" y="5341"/>
                </a:cubicBezTo>
                <a:cubicBezTo>
                  <a:pt x="1723" y="5348"/>
                  <a:pt x="1722" y="5362"/>
                  <a:pt x="1709" y="5358"/>
                </a:cubicBezTo>
                <a:cubicBezTo>
                  <a:pt x="1698" y="5355"/>
                  <a:pt x="1706" y="5343"/>
                  <a:pt x="1701" y="5336"/>
                </a:cubicBezTo>
                <a:cubicBezTo>
                  <a:pt x="1696" y="5328"/>
                  <a:pt x="1697" y="5315"/>
                  <a:pt x="1684" y="5316"/>
                </a:cubicBezTo>
                <a:cubicBezTo>
                  <a:pt x="1673" y="5317"/>
                  <a:pt x="1667" y="5324"/>
                  <a:pt x="1666" y="5336"/>
                </a:cubicBezTo>
                <a:cubicBezTo>
                  <a:pt x="1663" y="5368"/>
                  <a:pt x="1671" y="5400"/>
                  <a:pt x="1658" y="5432"/>
                </a:cubicBezTo>
                <a:cubicBezTo>
                  <a:pt x="1656" y="5439"/>
                  <a:pt x="1670" y="5452"/>
                  <a:pt x="1682" y="5455"/>
                </a:cubicBezTo>
                <a:cubicBezTo>
                  <a:pt x="1693" y="5458"/>
                  <a:pt x="1699" y="5447"/>
                  <a:pt x="1704" y="5439"/>
                </a:cubicBezTo>
                <a:cubicBezTo>
                  <a:pt x="1709" y="5431"/>
                  <a:pt x="1711" y="5420"/>
                  <a:pt x="1714" y="5411"/>
                </a:cubicBezTo>
                <a:cubicBezTo>
                  <a:pt x="1730" y="5417"/>
                  <a:pt x="1744" y="5429"/>
                  <a:pt x="1760" y="5421"/>
                </a:cubicBezTo>
                <a:cubicBezTo>
                  <a:pt x="1786" y="5409"/>
                  <a:pt x="1766" y="5378"/>
                  <a:pt x="1784" y="5361"/>
                </a:cubicBezTo>
                <a:cubicBezTo>
                  <a:pt x="1786" y="5364"/>
                  <a:pt x="1789" y="5366"/>
                  <a:pt x="1792" y="5368"/>
                </a:cubicBezTo>
                <a:cubicBezTo>
                  <a:pt x="1824" y="5394"/>
                  <a:pt x="1825" y="5394"/>
                  <a:pt x="1840" y="5357"/>
                </a:cubicBezTo>
                <a:cubicBezTo>
                  <a:pt x="1845" y="5343"/>
                  <a:pt x="1859" y="5343"/>
                  <a:pt x="1866" y="5346"/>
                </a:cubicBezTo>
                <a:cubicBezTo>
                  <a:pt x="1890" y="5359"/>
                  <a:pt x="1910" y="5338"/>
                  <a:pt x="1932" y="5338"/>
                </a:cubicBezTo>
                <a:cubicBezTo>
                  <a:pt x="1947" y="5338"/>
                  <a:pt x="1952" y="5318"/>
                  <a:pt x="1948" y="5303"/>
                </a:cubicBezTo>
                <a:cubicBezTo>
                  <a:pt x="1945" y="5294"/>
                  <a:pt x="1940" y="5287"/>
                  <a:pt x="1937" y="5279"/>
                </a:cubicBezTo>
                <a:cubicBezTo>
                  <a:pt x="1918" y="5234"/>
                  <a:pt x="1933" y="5208"/>
                  <a:pt x="1979" y="5208"/>
                </a:cubicBezTo>
                <a:cubicBezTo>
                  <a:pt x="1972" y="5222"/>
                  <a:pt x="1968" y="5236"/>
                  <a:pt x="1970" y="5251"/>
                </a:cubicBezTo>
                <a:cubicBezTo>
                  <a:pt x="1970" y="5259"/>
                  <a:pt x="1969" y="5273"/>
                  <a:pt x="1979" y="5273"/>
                </a:cubicBezTo>
                <a:cubicBezTo>
                  <a:pt x="2013" y="5271"/>
                  <a:pt x="1998" y="5289"/>
                  <a:pt x="1996" y="5306"/>
                </a:cubicBezTo>
                <a:cubicBezTo>
                  <a:pt x="1992" y="5332"/>
                  <a:pt x="1980" y="5360"/>
                  <a:pt x="2004" y="5383"/>
                </a:cubicBezTo>
                <a:cubicBezTo>
                  <a:pt x="2013" y="5392"/>
                  <a:pt x="2027" y="5399"/>
                  <a:pt x="2039" y="5402"/>
                </a:cubicBezTo>
                <a:cubicBezTo>
                  <a:pt x="2057" y="5407"/>
                  <a:pt x="2053" y="5382"/>
                  <a:pt x="2065" y="5377"/>
                </a:cubicBezTo>
                <a:cubicBezTo>
                  <a:pt x="2078" y="5389"/>
                  <a:pt x="2075" y="5421"/>
                  <a:pt x="2106" y="5406"/>
                </a:cubicBezTo>
                <a:cubicBezTo>
                  <a:pt x="2138" y="5391"/>
                  <a:pt x="2125" y="5372"/>
                  <a:pt x="2112" y="5351"/>
                </a:cubicBezTo>
                <a:cubicBezTo>
                  <a:pt x="2117" y="5352"/>
                  <a:pt x="2119" y="5352"/>
                  <a:pt x="2121" y="5352"/>
                </a:cubicBezTo>
                <a:cubicBezTo>
                  <a:pt x="2136" y="5356"/>
                  <a:pt x="2138" y="5382"/>
                  <a:pt x="2153" y="5378"/>
                </a:cubicBezTo>
                <a:cubicBezTo>
                  <a:pt x="2166" y="5373"/>
                  <a:pt x="2151" y="5353"/>
                  <a:pt x="2161" y="5340"/>
                </a:cubicBezTo>
                <a:cubicBezTo>
                  <a:pt x="2174" y="5322"/>
                  <a:pt x="2159" y="5310"/>
                  <a:pt x="2142" y="5307"/>
                </a:cubicBezTo>
                <a:cubicBezTo>
                  <a:pt x="2131" y="5305"/>
                  <a:pt x="2124" y="5303"/>
                  <a:pt x="2125" y="5290"/>
                </a:cubicBezTo>
                <a:cubicBezTo>
                  <a:pt x="2126" y="5279"/>
                  <a:pt x="2131" y="5270"/>
                  <a:pt x="2144" y="5267"/>
                </a:cubicBezTo>
                <a:cubicBezTo>
                  <a:pt x="2163" y="5263"/>
                  <a:pt x="2180" y="5264"/>
                  <a:pt x="2187" y="5287"/>
                </a:cubicBezTo>
                <a:cubicBezTo>
                  <a:pt x="2189" y="5294"/>
                  <a:pt x="2195" y="5303"/>
                  <a:pt x="2204" y="5297"/>
                </a:cubicBezTo>
                <a:cubicBezTo>
                  <a:pt x="2211" y="5291"/>
                  <a:pt x="2204" y="5285"/>
                  <a:pt x="2200" y="5279"/>
                </a:cubicBezTo>
                <a:cubicBezTo>
                  <a:pt x="2191" y="5267"/>
                  <a:pt x="2184" y="5255"/>
                  <a:pt x="2181" y="5233"/>
                </a:cubicBezTo>
                <a:cubicBezTo>
                  <a:pt x="2203" y="5255"/>
                  <a:pt x="2219" y="5254"/>
                  <a:pt x="2233" y="5232"/>
                </a:cubicBezTo>
                <a:cubicBezTo>
                  <a:pt x="2242" y="5219"/>
                  <a:pt x="2248" y="5225"/>
                  <a:pt x="2254" y="5238"/>
                </a:cubicBezTo>
                <a:cubicBezTo>
                  <a:pt x="2260" y="5251"/>
                  <a:pt x="2275" y="5254"/>
                  <a:pt x="2279" y="5237"/>
                </a:cubicBezTo>
                <a:cubicBezTo>
                  <a:pt x="2282" y="5223"/>
                  <a:pt x="2288" y="5220"/>
                  <a:pt x="2299" y="5218"/>
                </a:cubicBezTo>
                <a:cubicBezTo>
                  <a:pt x="2306" y="5217"/>
                  <a:pt x="2312" y="5213"/>
                  <a:pt x="2313" y="5205"/>
                </a:cubicBezTo>
                <a:cubicBezTo>
                  <a:pt x="2318" y="5182"/>
                  <a:pt x="2330" y="5187"/>
                  <a:pt x="2345" y="5196"/>
                </a:cubicBezTo>
                <a:cubicBezTo>
                  <a:pt x="2358" y="5204"/>
                  <a:pt x="2372" y="5208"/>
                  <a:pt x="2386" y="5201"/>
                </a:cubicBezTo>
                <a:cubicBezTo>
                  <a:pt x="2406" y="5190"/>
                  <a:pt x="2416" y="5197"/>
                  <a:pt x="2427" y="5215"/>
                </a:cubicBezTo>
                <a:cubicBezTo>
                  <a:pt x="2443" y="5239"/>
                  <a:pt x="2474" y="5248"/>
                  <a:pt x="2491" y="5233"/>
                </a:cubicBezTo>
                <a:cubicBezTo>
                  <a:pt x="2500" y="5225"/>
                  <a:pt x="2506" y="5214"/>
                  <a:pt x="2517" y="5232"/>
                </a:cubicBezTo>
                <a:cubicBezTo>
                  <a:pt x="2521" y="5238"/>
                  <a:pt x="2529" y="5231"/>
                  <a:pt x="2533" y="5226"/>
                </a:cubicBezTo>
                <a:cubicBezTo>
                  <a:pt x="2547" y="5208"/>
                  <a:pt x="2544" y="5173"/>
                  <a:pt x="2525" y="5161"/>
                </a:cubicBezTo>
                <a:cubicBezTo>
                  <a:pt x="2501" y="5146"/>
                  <a:pt x="2504" y="5131"/>
                  <a:pt x="2518" y="5113"/>
                </a:cubicBezTo>
                <a:cubicBezTo>
                  <a:pt x="2525" y="5103"/>
                  <a:pt x="2530" y="5094"/>
                  <a:pt x="2524" y="5082"/>
                </a:cubicBezTo>
                <a:cubicBezTo>
                  <a:pt x="2510" y="5056"/>
                  <a:pt x="2499" y="5030"/>
                  <a:pt x="2486" y="5004"/>
                </a:cubicBezTo>
                <a:cubicBezTo>
                  <a:pt x="2480" y="4993"/>
                  <a:pt x="2481" y="4990"/>
                  <a:pt x="2494" y="4983"/>
                </a:cubicBezTo>
                <a:cubicBezTo>
                  <a:pt x="2511" y="4974"/>
                  <a:pt x="2508" y="4990"/>
                  <a:pt x="2512" y="4994"/>
                </a:cubicBezTo>
                <a:cubicBezTo>
                  <a:pt x="2524" y="5009"/>
                  <a:pt x="2525" y="5036"/>
                  <a:pt x="2551" y="5034"/>
                </a:cubicBezTo>
                <a:cubicBezTo>
                  <a:pt x="2568" y="5032"/>
                  <a:pt x="2587" y="5031"/>
                  <a:pt x="2601" y="5016"/>
                </a:cubicBezTo>
                <a:cubicBezTo>
                  <a:pt x="2604" y="5034"/>
                  <a:pt x="2601" y="5044"/>
                  <a:pt x="2584" y="5046"/>
                </a:cubicBezTo>
                <a:cubicBezTo>
                  <a:pt x="2577" y="5047"/>
                  <a:pt x="2569" y="5053"/>
                  <a:pt x="2570" y="5062"/>
                </a:cubicBezTo>
                <a:cubicBezTo>
                  <a:pt x="2572" y="5070"/>
                  <a:pt x="2579" y="5072"/>
                  <a:pt x="2587" y="5071"/>
                </a:cubicBezTo>
                <a:cubicBezTo>
                  <a:pt x="2600" y="5070"/>
                  <a:pt x="2599" y="5078"/>
                  <a:pt x="2602" y="5087"/>
                </a:cubicBezTo>
                <a:cubicBezTo>
                  <a:pt x="2607" y="5105"/>
                  <a:pt x="2596" y="5122"/>
                  <a:pt x="2600" y="5140"/>
                </a:cubicBezTo>
                <a:cubicBezTo>
                  <a:pt x="2617" y="5136"/>
                  <a:pt x="2608" y="5117"/>
                  <a:pt x="2621" y="5112"/>
                </a:cubicBezTo>
                <a:cubicBezTo>
                  <a:pt x="2637" y="5124"/>
                  <a:pt x="2618" y="5134"/>
                  <a:pt x="2617" y="5145"/>
                </a:cubicBezTo>
                <a:cubicBezTo>
                  <a:pt x="2615" y="5164"/>
                  <a:pt x="2608" y="5182"/>
                  <a:pt x="2640" y="5173"/>
                </a:cubicBezTo>
                <a:cubicBezTo>
                  <a:pt x="2649" y="5170"/>
                  <a:pt x="2653" y="5177"/>
                  <a:pt x="2656" y="5183"/>
                </a:cubicBezTo>
                <a:cubicBezTo>
                  <a:pt x="2663" y="5196"/>
                  <a:pt x="2674" y="5201"/>
                  <a:pt x="2689" y="5201"/>
                </a:cubicBezTo>
                <a:cubicBezTo>
                  <a:pt x="2703" y="5201"/>
                  <a:pt x="2713" y="5205"/>
                  <a:pt x="2703" y="5222"/>
                </a:cubicBezTo>
                <a:cubicBezTo>
                  <a:pt x="2691" y="5244"/>
                  <a:pt x="2714" y="5248"/>
                  <a:pt x="2723" y="5258"/>
                </a:cubicBezTo>
                <a:cubicBezTo>
                  <a:pt x="2735" y="5272"/>
                  <a:pt x="2740" y="5254"/>
                  <a:pt x="2749" y="5251"/>
                </a:cubicBezTo>
                <a:cubicBezTo>
                  <a:pt x="2756" y="5249"/>
                  <a:pt x="2757" y="5237"/>
                  <a:pt x="2769" y="5241"/>
                </a:cubicBezTo>
                <a:cubicBezTo>
                  <a:pt x="2765" y="5248"/>
                  <a:pt x="2759" y="5255"/>
                  <a:pt x="2759" y="5262"/>
                </a:cubicBezTo>
                <a:cubicBezTo>
                  <a:pt x="2757" y="5276"/>
                  <a:pt x="2778" y="5264"/>
                  <a:pt x="2780" y="5279"/>
                </a:cubicBezTo>
                <a:cubicBezTo>
                  <a:pt x="2782" y="5298"/>
                  <a:pt x="2756" y="5268"/>
                  <a:pt x="2762" y="5291"/>
                </a:cubicBezTo>
                <a:cubicBezTo>
                  <a:pt x="2766" y="5309"/>
                  <a:pt x="2767" y="5327"/>
                  <a:pt x="2770" y="5345"/>
                </a:cubicBezTo>
                <a:cubicBezTo>
                  <a:pt x="2773" y="5360"/>
                  <a:pt x="2779" y="5363"/>
                  <a:pt x="2792" y="5353"/>
                </a:cubicBezTo>
                <a:cubicBezTo>
                  <a:pt x="2801" y="5346"/>
                  <a:pt x="2814" y="5332"/>
                  <a:pt x="2815" y="5360"/>
                </a:cubicBezTo>
                <a:cubicBezTo>
                  <a:pt x="2815" y="5366"/>
                  <a:pt x="2825" y="5363"/>
                  <a:pt x="2830" y="5364"/>
                </a:cubicBezTo>
                <a:cubicBezTo>
                  <a:pt x="2850" y="5368"/>
                  <a:pt x="2860" y="5342"/>
                  <a:pt x="2866" y="5344"/>
                </a:cubicBezTo>
                <a:cubicBezTo>
                  <a:pt x="2890" y="5350"/>
                  <a:pt x="2893" y="5335"/>
                  <a:pt x="2899" y="5317"/>
                </a:cubicBezTo>
                <a:cubicBezTo>
                  <a:pt x="2906" y="5328"/>
                  <a:pt x="2911" y="5334"/>
                  <a:pt x="2916" y="5341"/>
                </a:cubicBezTo>
                <a:cubicBezTo>
                  <a:pt x="2934" y="5330"/>
                  <a:pt x="2920" y="5314"/>
                  <a:pt x="2924" y="5301"/>
                </a:cubicBezTo>
                <a:cubicBezTo>
                  <a:pt x="2928" y="5282"/>
                  <a:pt x="2918" y="5269"/>
                  <a:pt x="2898" y="5277"/>
                </a:cubicBezTo>
                <a:cubicBezTo>
                  <a:pt x="2876" y="5286"/>
                  <a:pt x="2866" y="5268"/>
                  <a:pt x="2855" y="5258"/>
                </a:cubicBezTo>
                <a:cubicBezTo>
                  <a:pt x="2844" y="5248"/>
                  <a:pt x="2856" y="5237"/>
                  <a:pt x="2867" y="5230"/>
                </a:cubicBezTo>
                <a:cubicBezTo>
                  <a:pt x="2873" y="5225"/>
                  <a:pt x="2872" y="5216"/>
                  <a:pt x="2875" y="5209"/>
                </a:cubicBezTo>
                <a:cubicBezTo>
                  <a:pt x="2879" y="5193"/>
                  <a:pt x="2890" y="5183"/>
                  <a:pt x="2905" y="5198"/>
                </a:cubicBezTo>
                <a:cubicBezTo>
                  <a:pt x="2910" y="5203"/>
                  <a:pt x="2918" y="5204"/>
                  <a:pt x="2921" y="5209"/>
                </a:cubicBezTo>
                <a:cubicBezTo>
                  <a:pt x="2944" y="5237"/>
                  <a:pt x="2986" y="5253"/>
                  <a:pt x="2990" y="5292"/>
                </a:cubicBezTo>
                <a:cubicBezTo>
                  <a:pt x="2996" y="5349"/>
                  <a:pt x="3011" y="5406"/>
                  <a:pt x="3004" y="5463"/>
                </a:cubicBezTo>
                <a:cubicBezTo>
                  <a:pt x="3001" y="5488"/>
                  <a:pt x="2994" y="5514"/>
                  <a:pt x="2999" y="5539"/>
                </a:cubicBezTo>
                <a:cubicBezTo>
                  <a:pt x="3009" y="5589"/>
                  <a:pt x="3001" y="5640"/>
                  <a:pt x="2997" y="5689"/>
                </a:cubicBezTo>
                <a:cubicBezTo>
                  <a:pt x="2987" y="5798"/>
                  <a:pt x="2984" y="5906"/>
                  <a:pt x="2980" y="6015"/>
                </a:cubicBezTo>
                <a:cubicBezTo>
                  <a:pt x="2978" y="6115"/>
                  <a:pt x="2972" y="6214"/>
                  <a:pt x="2958" y="6313"/>
                </a:cubicBezTo>
                <a:cubicBezTo>
                  <a:pt x="2954" y="6341"/>
                  <a:pt x="2893" y="6411"/>
                  <a:pt x="2853" y="6420"/>
                </a:cubicBezTo>
                <a:cubicBezTo>
                  <a:pt x="3524" y="6420"/>
                  <a:pt x="3524" y="6420"/>
                  <a:pt x="3524" y="6420"/>
                </a:cubicBezTo>
                <a:cubicBezTo>
                  <a:pt x="3431" y="6387"/>
                  <a:pt x="3385" y="6345"/>
                  <a:pt x="3382" y="6322"/>
                </a:cubicBezTo>
                <a:cubicBezTo>
                  <a:pt x="3372" y="6258"/>
                  <a:pt x="3365" y="6194"/>
                  <a:pt x="3364" y="6129"/>
                </a:cubicBezTo>
                <a:cubicBezTo>
                  <a:pt x="3364" y="6011"/>
                  <a:pt x="3368" y="5893"/>
                  <a:pt x="3363" y="5775"/>
                </a:cubicBezTo>
                <a:cubicBezTo>
                  <a:pt x="3361" y="5723"/>
                  <a:pt x="3371" y="5672"/>
                  <a:pt x="3370" y="5620"/>
                </a:cubicBezTo>
                <a:cubicBezTo>
                  <a:pt x="3369" y="5530"/>
                  <a:pt x="3375" y="5440"/>
                  <a:pt x="3380" y="5350"/>
                </a:cubicBezTo>
                <a:cubicBezTo>
                  <a:pt x="3384" y="5288"/>
                  <a:pt x="3374" y="5226"/>
                  <a:pt x="3370" y="5163"/>
                </a:cubicBezTo>
                <a:cubicBezTo>
                  <a:pt x="3366" y="5091"/>
                  <a:pt x="3366" y="5020"/>
                  <a:pt x="3407" y="4956"/>
                </a:cubicBezTo>
                <a:cubicBezTo>
                  <a:pt x="3410" y="4952"/>
                  <a:pt x="3414" y="4945"/>
                  <a:pt x="3413" y="4940"/>
                </a:cubicBezTo>
                <a:cubicBezTo>
                  <a:pt x="3409" y="4922"/>
                  <a:pt x="3424" y="4914"/>
                  <a:pt x="3433" y="4904"/>
                </a:cubicBezTo>
                <a:cubicBezTo>
                  <a:pt x="3444" y="4891"/>
                  <a:pt x="3454" y="4897"/>
                  <a:pt x="3455" y="4911"/>
                </a:cubicBezTo>
                <a:cubicBezTo>
                  <a:pt x="3458" y="4943"/>
                  <a:pt x="3481" y="4949"/>
                  <a:pt x="3504" y="4948"/>
                </a:cubicBezTo>
                <a:cubicBezTo>
                  <a:pt x="3522" y="4947"/>
                  <a:pt x="3526" y="4952"/>
                  <a:pt x="3530" y="4966"/>
                </a:cubicBezTo>
                <a:cubicBezTo>
                  <a:pt x="3535" y="4981"/>
                  <a:pt x="3531" y="5000"/>
                  <a:pt x="3545" y="5012"/>
                </a:cubicBezTo>
                <a:cubicBezTo>
                  <a:pt x="3551" y="5016"/>
                  <a:pt x="3560" y="5016"/>
                  <a:pt x="3556" y="5028"/>
                </a:cubicBezTo>
                <a:cubicBezTo>
                  <a:pt x="3550" y="5042"/>
                  <a:pt x="3542" y="5033"/>
                  <a:pt x="3535" y="5032"/>
                </a:cubicBezTo>
                <a:cubicBezTo>
                  <a:pt x="3498" y="5025"/>
                  <a:pt x="3477" y="5040"/>
                  <a:pt x="3473" y="5077"/>
                </a:cubicBezTo>
                <a:cubicBezTo>
                  <a:pt x="3471" y="5097"/>
                  <a:pt x="3482" y="5104"/>
                  <a:pt x="3499" y="5101"/>
                </a:cubicBezTo>
                <a:cubicBezTo>
                  <a:pt x="3505" y="5100"/>
                  <a:pt x="3510" y="5091"/>
                  <a:pt x="3515" y="5101"/>
                </a:cubicBezTo>
                <a:cubicBezTo>
                  <a:pt x="3526" y="5123"/>
                  <a:pt x="3538" y="5127"/>
                  <a:pt x="3555" y="5102"/>
                </a:cubicBezTo>
                <a:cubicBezTo>
                  <a:pt x="3559" y="5116"/>
                  <a:pt x="3562" y="5125"/>
                  <a:pt x="3564" y="5134"/>
                </a:cubicBezTo>
                <a:cubicBezTo>
                  <a:pt x="3568" y="5159"/>
                  <a:pt x="3577" y="5162"/>
                  <a:pt x="3599" y="5148"/>
                </a:cubicBezTo>
                <a:cubicBezTo>
                  <a:pt x="3619" y="5137"/>
                  <a:pt x="3634" y="5121"/>
                  <a:pt x="3645" y="5102"/>
                </a:cubicBezTo>
                <a:cubicBezTo>
                  <a:pt x="3649" y="5096"/>
                  <a:pt x="3658" y="5091"/>
                  <a:pt x="3665" y="5090"/>
                </a:cubicBezTo>
                <a:cubicBezTo>
                  <a:pt x="3671" y="5090"/>
                  <a:pt x="3675" y="5098"/>
                  <a:pt x="3676" y="5105"/>
                </a:cubicBezTo>
                <a:cubicBezTo>
                  <a:pt x="3678" y="5114"/>
                  <a:pt x="3677" y="5128"/>
                  <a:pt x="3691" y="5124"/>
                </a:cubicBezTo>
                <a:cubicBezTo>
                  <a:pt x="3705" y="5119"/>
                  <a:pt x="3713" y="5097"/>
                  <a:pt x="3706" y="5091"/>
                </a:cubicBezTo>
                <a:cubicBezTo>
                  <a:pt x="3685" y="5071"/>
                  <a:pt x="3698" y="5055"/>
                  <a:pt x="3704" y="5035"/>
                </a:cubicBezTo>
                <a:cubicBezTo>
                  <a:pt x="3708" y="5024"/>
                  <a:pt x="3717" y="5024"/>
                  <a:pt x="3724" y="5020"/>
                </a:cubicBezTo>
                <a:cubicBezTo>
                  <a:pt x="3732" y="5016"/>
                  <a:pt x="3735" y="5026"/>
                  <a:pt x="3738" y="5032"/>
                </a:cubicBezTo>
                <a:cubicBezTo>
                  <a:pt x="3748" y="5049"/>
                  <a:pt x="3762" y="5063"/>
                  <a:pt x="3783" y="5065"/>
                </a:cubicBezTo>
                <a:cubicBezTo>
                  <a:pt x="3821" y="5069"/>
                  <a:pt x="3821" y="5068"/>
                  <a:pt x="3812" y="5109"/>
                </a:cubicBezTo>
                <a:cubicBezTo>
                  <a:pt x="3807" y="5100"/>
                  <a:pt x="3807" y="5083"/>
                  <a:pt x="3794" y="5087"/>
                </a:cubicBezTo>
                <a:cubicBezTo>
                  <a:pt x="3784" y="5090"/>
                  <a:pt x="3768" y="5092"/>
                  <a:pt x="3766" y="5105"/>
                </a:cubicBezTo>
                <a:cubicBezTo>
                  <a:pt x="3764" y="5118"/>
                  <a:pt x="3780" y="5119"/>
                  <a:pt x="3788" y="5125"/>
                </a:cubicBezTo>
                <a:cubicBezTo>
                  <a:pt x="3797" y="5133"/>
                  <a:pt x="3815" y="5133"/>
                  <a:pt x="3805" y="5152"/>
                </a:cubicBezTo>
                <a:cubicBezTo>
                  <a:pt x="3789" y="5185"/>
                  <a:pt x="3807" y="5216"/>
                  <a:pt x="3810" y="5248"/>
                </a:cubicBezTo>
                <a:cubicBezTo>
                  <a:pt x="3810" y="5257"/>
                  <a:pt x="3817" y="5265"/>
                  <a:pt x="3826" y="5266"/>
                </a:cubicBezTo>
                <a:cubicBezTo>
                  <a:pt x="3835" y="5268"/>
                  <a:pt x="3839" y="5260"/>
                  <a:pt x="3842" y="5252"/>
                </a:cubicBezTo>
                <a:cubicBezTo>
                  <a:pt x="3844" y="5247"/>
                  <a:pt x="3844" y="5242"/>
                  <a:pt x="3853" y="5242"/>
                </a:cubicBezTo>
                <a:cubicBezTo>
                  <a:pt x="3889" y="5242"/>
                  <a:pt x="3900" y="5224"/>
                  <a:pt x="3889" y="5190"/>
                </a:cubicBezTo>
                <a:cubicBezTo>
                  <a:pt x="3909" y="5198"/>
                  <a:pt x="3926" y="5205"/>
                  <a:pt x="3944" y="5212"/>
                </a:cubicBezTo>
                <a:cubicBezTo>
                  <a:pt x="3949" y="5221"/>
                  <a:pt x="3948" y="5225"/>
                  <a:pt x="3937" y="5229"/>
                </a:cubicBezTo>
                <a:cubicBezTo>
                  <a:pt x="3910" y="5238"/>
                  <a:pt x="3892" y="5284"/>
                  <a:pt x="3904" y="5310"/>
                </a:cubicBezTo>
                <a:cubicBezTo>
                  <a:pt x="3908" y="5318"/>
                  <a:pt x="3910" y="5329"/>
                  <a:pt x="3923" y="5327"/>
                </a:cubicBezTo>
                <a:cubicBezTo>
                  <a:pt x="3934" y="5326"/>
                  <a:pt x="3935" y="5316"/>
                  <a:pt x="3938" y="5308"/>
                </a:cubicBezTo>
                <a:cubicBezTo>
                  <a:pt x="3942" y="5297"/>
                  <a:pt x="3941" y="5283"/>
                  <a:pt x="3954" y="5275"/>
                </a:cubicBezTo>
                <a:cubicBezTo>
                  <a:pt x="3958" y="5285"/>
                  <a:pt x="3961" y="5294"/>
                  <a:pt x="3965" y="5303"/>
                </a:cubicBezTo>
                <a:cubicBezTo>
                  <a:pt x="3970" y="5313"/>
                  <a:pt x="3972" y="5326"/>
                  <a:pt x="3986" y="5328"/>
                </a:cubicBezTo>
                <a:cubicBezTo>
                  <a:pt x="4000" y="5330"/>
                  <a:pt x="4010" y="5323"/>
                  <a:pt x="4016" y="5311"/>
                </a:cubicBezTo>
                <a:cubicBezTo>
                  <a:pt x="4020" y="5303"/>
                  <a:pt x="4023" y="5296"/>
                  <a:pt x="4032" y="5306"/>
                </a:cubicBezTo>
                <a:cubicBezTo>
                  <a:pt x="4038" y="5312"/>
                  <a:pt x="4046" y="5313"/>
                  <a:pt x="4053" y="5307"/>
                </a:cubicBezTo>
                <a:cubicBezTo>
                  <a:pt x="4060" y="5301"/>
                  <a:pt x="4060" y="5293"/>
                  <a:pt x="4057" y="5286"/>
                </a:cubicBezTo>
                <a:cubicBezTo>
                  <a:pt x="4050" y="5273"/>
                  <a:pt x="4051" y="5262"/>
                  <a:pt x="4061" y="5251"/>
                </a:cubicBezTo>
                <a:cubicBezTo>
                  <a:pt x="4066" y="5246"/>
                  <a:pt x="4080" y="5247"/>
                  <a:pt x="4075" y="5237"/>
                </a:cubicBezTo>
                <a:cubicBezTo>
                  <a:pt x="4070" y="5228"/>
                  <a:pt x="4058" y="5225"/>
                  <a:pt x="4049" y="5227"/>
                </a:cubicBezTo>
                <a:cubicBezTo>
                  <a:pt x="4032" y="5232"/>
                  <a:pt x="4015" y="5234"/>
                  <a:pt x="3995" y="5229"/>
                </a:cubicBezTo>
                <a:cubicBezTo>
                  <a:pt x="4013" y="5219"/>
                  <a:pt x="4022" y="5207"/>
                  <a:pt x="4014" y="5189"/>
                </a:cubicBezTo>
                <a:cubicBezTo>
                  <a:pt x="4030" y="5175"/>
                  <a:pt x="4028" y="5156"/>
                  <a:pt x="4026" y="5133"/>
                </a:cubicBezTo>
                <a:cubicBezTo>
                  <a:pt x="4043" y="5147"/>
                  <a:pt x="4037" y="5162"/>
                  <a:pt x="4039" y="5174"/>
                </a:cubicBezTo>
                <a:cubicBezTo>
                  <a:pt x="4040" y="5180"/>
                  <a:pt x="4041" y="5186"/>
                  <a:pt x="4048" y="5187"/>
                </a:cubicBezTo>
                <a:cubicBezTo>
                  <a:pt x="4056" y="5188"/>
                  <a:pt x="4062" y="5185"/>
                  <a:pt x="4064" y="5177"/>
                </a:cubicBezTo>
                <a:cubicBezTo>
                  <a:pt x="4066" y="5171"/>
                  <a:pt x="4066" y="5165"/>
                  <a:pt x="4067" y="5158"/>
                </a:cubicBezTo>
                <a:cubicBezTo>
                  <a:pt x="4078" y="5161"/>
                  <a:pt x="4087" y="5195"/>
                  <a:pt x="4097" y="5165"/>
                </a:cubicBezTo>
                <a:cubicBezTo>
                  <a:pt x="4103" y="5147"/>
                  <a:pt x="4107" y="5123"/>
                  <a:pt x="4093" y="5100"/>
                </a:cubicBezTo>
                <a:cubicBezTo>
                  <a:pt x="4085" y="5087"/>
                  <a:pt x="4073" y="5069"/>
                  <a:pt x="4090" y="5051"/>
                </a:cubicBezTo>
                <a:cubicBezTo>
                  <a:pt x="4095" y="5045"/>
                  <a:pt x="4091" y="5039"/>
                  <a:pt x="4086" y="5036"/>
                </a:cubicBezTo>
                <a:cubicBezTo>
                  <a:pt x="4080" y="5032"/>
                  <a:pt x="4072" y="5031"/>
                  <a:pt x="4068" y="5037"/>
                </a:cubicBezTo>
                <a:cubicBezTo>
                  <a:pt x="4062" y="5043"/>
                  <a:pt x="4059" y="5051"/>
                  <a:pt x="4055" y="5059"/>
                </a:cubicBezTo>
                <a:cubicBezTo>
                  <a:pt x="4052" y="5047"/>
                  <a:pt x="4040" y="5034"/>
                  <a:pt x="4050" y="5024"/>
                </a:cubicBezTo>
                <a:cubicBezTo>
                  <a:pt x="4064" y="5010"/>
                  <a:pt x="4064" y="5013"/>
                  <a:pt x="4053" y="4996"/>
                </a:cubicBezTo>
                <a:cubicBezTo>
                  <a:pt x="4027" y="4958"/>
                  <a:pt x="3992" y="4929"/>
                  <a:pt x="3961" y="4896"/>
                </a:cubicBezTo>
                <a:cubicBezTo>
                  <a:pt x="3945" y="4880"/>
                  <a:pt x="3940" y="4851"/>
                  <a:pt x="3912" y="4845"/>
                </a:cubicBezTo>
                <a:cubicBezTo>
                  <a:pt x="3933" y="4844"/>
                  <a:pt x="3960" y="4842"/>
                  <a:pt x="3957" y="4817"/>
                </a:cubicBezTo>
                <a:cubicBezTo>
                  <a:pt x="3956" y="4798"/>
                  <a:pt x="3966" y="4802"/>
                  <a:pt x="3973" y="4798"/>
                </a:cubicBezTo>
                <a:cubicBezTo>
                  <a:pt x="3982" y="4793"/>
                  <a:pt x="3991" y="4788"/>
                  <a:pt x="3999" y="4803"/>
                </a:cubicBezTo>
                <a:cubicBezTo>
                  <a:pt x="4007" y="4819"/>
                  <a:pt x="4016" y="4811"/>
                  <a:pt x="4020" y="4799"/>
                </a:cubicBezTo>
                <a:cubicBezTo>
                  <a:pt x="4023" y="4788"/>
                  <a:pt x="4025" y="4776"/>
                  <a:pt x="4024" y="4765"/>
                </a:cubicBezTo>
                <a:cubicBezTo>
                  <a:pt x="4024" y="4757"/>
                  <a:pt x="4011" y="4746"/>
                  <a:pt x="4021" y="4740"/>
                </a:cubicBezTo>
                <a:cubicBezTo>
                  <a:pt x="4034" y="4731"/>
                  <a:pt x="4034" y="4750"/>
                  <a:pt x="4041" y="4755"/>
                </a:cubicBezTo>
                <a:cubicBezTo>
                  <a:pt x="4046" y="4758"/>
                  <a:pt x="4050" y="4763"/>
                  <a:pt x="4057" y="4760"/>
                </a:cubicBezTo>
                <a:cubicBezTo>
                  <a:pt x="4064" y="4757"/>
                  <a:pt x="4065" y="4749"/>
                  <a:pt x="4064" y="4743"/>
                </a:cubicBezTo>
                <a:cubicBezTo>
                  <a:pt x="4062" y="4734"/>
                  <a:pt x="4058" y="4727"/>
                  <a:pt x="4051" y="4721"/>
                </a:cubicBezTo>
                <a:cubicBezTo>
                  <a:pt x="4037" y="4710"/>
                  <a:pt x="4043" y="4688"/>
                  <a:pt x="4059" y="4680"/>
                </a:cubicBezTo>
                <a:cubicBezTo>
                  <a:pt x="4080" y="4670"/>
                  <a:pt x="4099" y="4659"/>
                  <a:pt x="4101" y="4632"/>
                </a:cubicBezTo>
                <a:cubicBezTo>
                  <a:pt x="4104" y="4598"/>
                  <a:pt x="4085" y="4571"/>
                  <a:pt x="4051" y="4564"/>
                </a:cubicBezTo>
                <a:cubicBezTo>
                  <a:pt x="4044" y="4562"/>
                  <a:pt x="4037" y="4558"/>
                  <a:pt x="4030" y="4555"/>
                </a:cubicBezTo>
                <a:cubicBezTo>
                  <a:pt x="4024" y="4553"/>
                  <a:pt x="4017" y="4553"/>
                  <a:pt x="4020" y="4544"/>
                </a:cubicBezTo>
                <a:cubicBezTo>
                  <a:pt x="4021" y="4539"/>
                  <a:pt x="4024" y="4533"/>
                  <a:pt x="4030" y="4532"/>
                </a:cubicBezTo>
                <a:cubicBezTo>
                  <a:pt x="4065" y="4528"/>
                  <a:pt x="4070" y="4512"/>
                  <a:pt x="4065" y="4478"/>
                </a:cubicBezTo>
                <a:cubicBezTo>
                  <a:pt x="4061" y="4452"/>
                  <a:pt x="4055" y="4450"/>
                  <a:pt x="4036" y="4460"/>
                </a:cubicBezTo>
                <a:cubicBezTo>
                  <a:pt x="4007" y="4476"/>
                  <a:pt x="4019" y="4427"/>
                  <a:pt x="3995" y="4435"/>
                </a:cubicBezTo>
                <a:cubicBezTo>
                  <a:pt x="3994" y="4435"/>
                  <a:pt x="3992" y="4431"/>
                  <a:pt x="3990" y="4429"/>
                </a:cubicBezTo>
                <a:cubicBezTo>
                  <a:pt x="3990" y="4428"/>
                  <a:pt x="3991" y="4427"/>
                  <a:pt x="3991" y="4427"/>
                </a:cubicBezTo>
                <a:cubicBezTo>
                  <a:pt x="4004" y="4396"/>
                  <a:pt x="4003" y="4391"/>
                  <a:pt x="3975" y="4373"/>
                </a:cubicBezTo>
                <a:cubicBezTo>
                  <a:pt x="3964" y="4366"/>
                  <a:pt x="3956" y="4357"/>
                  <a:pt x="3966" y="4345"/>
                </a:cubicBezTo>
                <a:cubicBezTo>
                  <a:pt x="3979" y="4328"/>
                  <a:pt x="3982" y="4310"/>
                  <a:pt x="3981" y="4289"/>
                </a:cubicBezTo>
                <a:cubicBezTo>
                  <a:pt x="3980" y="4261"/>
                  <a:pt x="3962" y="4240"/>
                  <a:pt x="3935" y="4245"/>
                </a:cubicBezTo>
                <a:cubicBezTo>
                  <a:pt x="3905" y="4249"/>
                  <a:pt x="3899" y="4245"/>
                  <a:pt x="3895" y="4213"/>
                </a:cubicBezTo>
                <a:cubicBezTo>
                  <a:pt x="3900" y="4225"/>
                  <a:pt x="3910" y="4231"/>
                  <a:pt x="3921" y="4235"/>
                </a:cubicBezTo>
                <a:cubicBezTo>
                  <a:pt x="3929" y="4238"/>
                  <a:pt x="3936" y="4234"/>
                  <a:pt x="3932" y="4226"/>
                </a:cubicBezTo>
                <a:cubicBezTo>
                  <a:pt x="3923" y="4206"/>
                  <a:pt x="3932" y="4194"/>
                  <a:pt x="3946" y="4182"/>
                </a:cubicBezTo>
                <a:cubicBezTo>
                  <a:pt x="3952" y="4177"/>
                  <a:pt x="3947" y="4162"/>
                  <a:pt x="3959" y="4162"/>
                </a:cubicBezTo>
                <a:cubicBezTo>
                  <a:pt x="3971" y="4162"/>
                  <a:pt x="3971" y="4173"/>
                  <a:pt x="3974" y="4181"/>
                </a:cubicBezTo>
                <a:cubicBezTo>
                  <a:pt x="3981" y="4201"/>
                  <a:pt x="3999" y="4196"/>
                  <a:pt x="4011" y="4193"/>
                </a:cubicBezTo>
                <a:cubicBezTo>
                  <a:pt x="4026" y="4188"/>
                  <a:pt x="4010" y="4177"/>
                  <a:pt x="4009" y="4169"/>
                </a:cubicBezTo>
                <a:cubicBezTo>
                  <a:pt x="4009" y="4160"/>
                  <a:pt x="4003" y="4151"/>
                  <a:pt x="4002" y="4141"/>
                </a:cubicBezTo>
                <a:cubicBezTo>
                  <a:pt x="4002" y="4126"/>
                  <a:pt x="3998" y="4107"/>
                  <a:pt x="4023" y="4105"/>
                </a:cubicBezTo>
                <a:cubicBezTo>
                  <a:pt x="4046" y="4104"/>
                  <a:pt x="4046" y="4122"/>
                  <a:pt x="4049" y="4136"/>
                </a:cubicBezTo>
                <a:cubicBezTo>
                  <a:pt x="4051" y="4147"/>
                  <a:pt x="4049" y="4160"/>
                  <a:pt x="4056" y="4170"/>
                </a:cubicBezTo>
                <a:cubicBezTo>
                  <a:pt x="4072" y="4197"/>
                  <a:pt x="4060" y="4212"/>
                  <a:pt x="4035" y="4223"/>
                </a:cubicBezTo>
                <a:cubicBezTo>
                  <a:pt x="4027" y="4227"/>
                  <a:pt x="4009" y="4224"/>
                  <a:pt x="4013" y="4237"/>
                </a:cubicBezTo>
                <a:cubicBezTo>
                  <a:pt x="4017" y="4249"/>
                  <a:pt x="4020" y="4262"/>
                  <a:pt x="4032" y="4274"/>
                </a:cubicBezTo>
                <a:cubicBezTo>
                  <a:pt x="4048" y="4288"/>
                  <a:pt x="4059" y="4268"/>
                  <a:pt x="4073" y="4274"/>
                </a:cubicBezTo>
                <a:cubicBezTo>
                  <a:pt x="4066" y="4279"/>
                  <a:pt x="4057" y="4287"/>
                  <a:pt x="4065" y="4291"/>
                </a:cubicBezTo>
                <a:cubicBezTo>
                  <a:pt x="4102" y="4307"/>
                  <a:pt x="4065" y="4322"/>
                  <a:pt x="4065" y="4338"/>
                </a:cubicBezTo>
                <a:cubicBezTo>
                  <a:pt x="4060" y="4324"/>
                  <a:pt x="4051" y="4315"/>
                  <a:pt x="4037" y="4320"/>
                </a:cubicBezTo>
                <a:cubicBezTo>
                  <a:pt x="4019" y="4326"/>
                  <a:pt x="4032" y="4337"/>
                  <a:pt x="4034" y="4346"/>
                </a:cubicBezTo>
                <a:cubicBezTo>
                  <a:pt x="4034" y="4349"/>
                  <a:pt x="4034" y="4352"/>
                  <a:pt x="4033" y="4354"/>
                </a:cubicBezTo>
                <a:cubicBezTo>
                  <a:pt x="4029" y="4371"/>
                  <a:pt x="4036" y="4380"/>
                  <a:pt x="4049" y="4385"/>
                </a:cubicBezTo>
                <a:cubicBezTo>
                  <a:pt x="4074" y="4394"/>
                  <a:pt x="4091" y="4390"/>
                  <a:pt x="4105" y="4358"/>
                </a:cubicBezTo>
                <a:cubicBezTo>
                  <a:pt x="4110" y="4405"/>
                  <a:pt x="4141" y="4384"/>
                  <a:pt x="4149" y="4378"/>
                </a:cubicBezTo>
                <a:cubicBezTo>
                  <a:pt x="4173" y="4359"/>
                  <a:pt x="4174" y="4376"/>
                  <a:pt x="4179" y="4391"/>
                </a:cubicBezTo>
                <a:cubicBezTo>
                  <a:pt x="4188" y="4421"/>
                  <a:pt x="4186" y="4455"/>
                  <a:pt x="4210" y="4480"/>
                </a:cubicBezTo>
                <a:cubicBezTo>
                  <a:pt x="4219" y="4490"/>
                  <a:pt x="4214" y="4494"/>
                  <a:pt x="4204" y="4498"/>
                </a:cubicBezTo>
                <a:cubicBezTo>
                  <a:pt x="4186" y="4507"/>
                  <a:pt x="4186" y="4522"/>
                  <a:pt x="4204" y="4526"/>
                </a:cubicBezTo>
                <a:cubicBezTo>
                  <a:pt x="4222" y="4529"/>
                  <a:pt x="4223" y="4546"/>
                  <a:pt x="4234" y="4552"/>
                </a:cubicBezTo>
                <a:cubicBezTo>
                  <a:pt x="4258" y="4566"/>
                  <a:pt x="4232" y="4576"/>
                  <a:pt x="4232" y="4587"/>
                </a:cubicBezTo>
                <a:cubicBezTo>
                  <a:pt x="4232" y="4596"/>
                  <a:pt x="4229" y="4604"/>
                  <a:pt x="4236" y="4611"/>
                </a:cubicBezTo>
                <a:cubicBezTo>
                  <a:pt x="4251" y="4607"/>
                  <a:pt x="4261" y="4580"/>
                  <a:pt x="4275" y="4597"/>
                </a:cubicBezTo>
                <a:cubicBezTo>
                  <a:pt x="4291" y="4617"/>
                  <a:pt x="4304" y="4606"/>
                  <a:pt x="4322" y="4604"/>
                </a:cubicBezTo>
                <a:cubicBezTo>
                  <a:pt x="4302" y="4597"/>
                  <a:pt x="4295" y="4589"/>
                  <a:pt x="4303" y="4568"/>
                </a:cubicBezTo>
                <a:cubicBezTo>
                  <a:pt x="4306" y="4560"/>
                  <a:pt x="4310" y="4542"/>
                  <a:pt x="4302" y="4535"/>
                </a:cubicBezTo>
                <a:cubicBezTo>
                  <a:pt x="4277" y="4515"/>
                  <a:pt x="4290" y="4491"/>
                  <a:pt x="4291" y="4468"/>
                </a:cubicBezTo>
                <a:cubicBezTo>
                  <a:pt x="4292" y="4449"/>
                  <a:pt x="4282" y="4439"/>
                  <a:pt x="4263" y="4445"/>
                </a:cubicBezTo>
                <a:cubicBezTo>
                  <a:pt x="4255" y="4447"/>
                  <a:pt x="4249" y="4453"/>
                  <a:pt x="4242" y="4459"/>
                </a:cubicBezTo>
                <a:cubicBezTo>
                  <a:pt x="4222" y="4476"/>
                  <a:pt x="4211" y="4474"/>
                  <a:pt x="4207" y="4447"/>
                </a:cubicBezTo>
                <a:cubicBezTo>
                  <a:pt x="4204" y="4426"/>
                  <a:pt x="4173" y="4394"/>
                  <a:pt x="4221" y="4381"/>
                </a:cubicBezTo>
                <a:cubicBezTo>
                  <a:pt x="4223" y="4381"/>
                  <a:pt x="4223" y="4376"/>
                  <a:pt x="4224" y="4373"/>
                </a:cubicBezTo>
                <a:cubicBezTo>
                  <a:pt x="4229" y="4355"/>
                  <a:pt x="4240" y="4352"/>
                  <a:pt x="4257" y="4360"/>
                </a:cubicBezTo>
                <a:cubicBezTo>
                  <a:pt x="4263" y="4363"/>
                  <a:pt x="4272" y="4371"/>
                  <a:pt x="4279" y="4359"/>
                </a:cubicBezTo>
                <a:cubicBezTo>
                  <a:pt x="4283" y="4353"/>
                  <a:pt x="4300" y="4349"/>
                  <a:pt x="4306" y="4355"/>
                </a:cubicBezTo>
                <a:cubicBezTo>
                  <a:pt x="4313" y="4362"/>
                  <a:pt x="4330" y="4367"/>
                  <a:pt x="4314" y="4382"/>
                </a:cubicBezTo>
                <a:cubicBezTo>
                  <a:pt x="4308" y="4388"/>
                  <a:pt x="4303" y="4397"/>
                  <a:pt x="4312" y="4404"/>
                </a:cubicBezTo>
                <a:cubicBezTo>
                  <a:pt x="4320" y="4409"/>
                  <a:pt x="4327" y="4404"/>
                  <a:pt x="4332" y="4396"/>
                </a:cubicBezTo>
                <a:cubicBezTo>
                  <a:pt x="4335" y="4392"/>
                  <a:pt x="4336" y="4384"/>
                  <a:pt x="4344" y="4390"/>
                </a:cubicBezTo>
                <a:cubicBezTo>
                  <a:pt x="4349" y="4394"/>
                  <a:pt x="4352" y="4399"/>
                  <a:pt x="4348" y="4405"/>
                </a:cubicBezTo>
                <a:cubicBezTo>
                  <a:pt x="4341" y="4416"/>
                  <a:pt x="4346" y="4430"/>
                  <a:pt x="4355" y="4427"/>
                </a:cubicBezTo>
                <a:cubicBezTo>
                  <a:pt x="4379" y="4418"/>
                  <a:pt x="4404" y="4446"/>
                  <a:pt x="4427" y="4425"/>
                </a:cubicBezTo>
                <a:cubicBezTo>
                  <a:pt x="4429" y="4423"/>
                  <a:pt x="4435" y="4424"/>
                  <a:pt x="4446" y="4424"/>
                </a:cubicBezTo>
                <a:cubicBezTo>
                  <a:pt x="4435" y="4429"/>
                  <a:pt x="4427" y="4427"/>
                  <a:pt x="4427" y="4435"/>
                </a:cubicBezTo>
                <a:cubicBezTo>
                  <a:pt x="4428" y="4451"/>
                  <a:pt x="4445" y="4437"/>
                  <a:pt x="4450" y="4446"/>
                </a:cubicBezTo>
                <a:cubicBezTo>
                  <a:pt x="4445" y="4459"/>
                  <a:pt x="4429" y="4468"/>
                  <a:pt x="4440" y="4486"/>
                </a:cubicBezTo>
                <a:cubicBezTo>
                  <a:pt x="4445" y="4479"/>
                  <a:pt x="4450" y="4471"/>
                  <a:pt x="4457" y="4467"/>
                </a:cubicBezTo>
                <a:cubicBezTo>
                  <a:pt x="4479" y="4451"/>
                  <a:pt x="4504" y="4437"/>
                  <a:pt x="4492" y="4403"/>
                </a:cubicBezTo>
                <a:cubicBezTo>
                  <a:pt x="4491" y="4399"/>
                  <a:pt x="4488" y="4386"/>
                  <a:pt x="4502" y="4393"/>
                </a:cubicBezTo>
                <a:cubicBezTo>
                  <a:pt x="4513" y="4399"/>
                  <a:pt x="4513" y="4396"/>
                  <a:pt x="4513" y="4384"/>
                </a:cubicBezTo>
                <a:cubicBezTo>
                  <a:pt x="4512" y="4360"/>
                  <a:pt x="4531" y="4375"/>
                  <a:pt x="4540" y="4372"/>
                </a:cubicBezTo>
                <a:cubicBezTo>
                  <a:pt x="4557" y="4368"/>
                  <a:pt x="4552" y="4381"/>
                  <a:pt x="4552" y="4388"/>
                </a:cubicBezTo>
                <a:cubicBezTo>
                  <a:pt x="4550" y="4413"/>
                  <a:pt x="4558" y="4437"/>
                  <a:pt x="4544" y="4461"/>
                </a:cubicBezTo>
                <a:cubicBezTo>
                  <a:pt x="4540" y="4468"/>
                  <a:pt x="4544" y="4483"/>
                  <a:pt x="4558" y="4490"/>
                </a:cubicBezTo>
                <a:cubicBezTo>
                  <a:pt x="4577" y="4499"/>
                  <a:pt x="4573" y="4511"/>
                  <a:pt x="4557" y="4518"/>
                </a:cubicBezTo>
                <a:cubicBezTo>
                  <a:pt x="4533" y="4528"/>
                  <a:pt x="4519" y="4556"/>
                  <a:pt x="4488" y="4551"/>
                </a:cubicBezTo>
                <a:cubicBezTo>
                  <a:pt x="4484" y="4550"/>
                  <a:pt x="4479" y="4559"/>
                  <a:pt x="4474" y="4564"/>
                </a:cubicBezTo>
                <a:cubicBezTo>
                  <a:pt x="4455" y="4581"/>
                  <a:pt x="4449" y="4612"/>
                  <a:pt x="4418" y="4618"/>
                </a:cubicBezTo>
                <a:cubicBezTo>
                  <a:pt x="4410" y="4620"/>
                  <a:pt x="4404" y="4631"/>
                  <a:pt x="4407" y="4640"/>
                </a:cubicBezTo>
                <a:cubicBezTo>
                  <a:pt x="4413" y="4657"/>
                  <a:pt x="4419" y="4674"/>
                  <a:pt x="4428" y="4690"/>
                </a:cubicBezTo>
                <a:cubicBezTo>
                  <a:pt x="4434" y="4700"/>
                  <a:pt x="4452" y="4703"/>
                  <a:pt x="4454" y="4692"/>
                </a:cubicBezTo>
                <a:cubicBezTo>
                  <a:pt x="4463" y="4648"/>
                  <a:pt x="4483" y="4671"/>
                  <a:pt x="4502" y="4680"/>
                </a:cubicBezTo>
                <a:cubicBezTo>
                  <a:pt x="4515" y="4686"/>
                  <a:pt x="4528" y="4689"/>
                  <a:pt x="4542" y="4693"/>
                </a:cubicBezTo>
                <a:cubicBezTo>
                  <a:pt x="4547" y="4670"/>
                  <a:pt x="4525" y="4661"/>
                  <a:pt x="4520" y="4645"/>
                </a:cubicBezTo>
                <a:cubicBezTo>
                  <a:pt x="4544" y="4645"/>
                  <a:pt x="4544" y="4645"/>
                  <a:pt x="4544" y="4645"/>
                </a:cubicBezTo>
                <a:cubicBezTo>
                  <a:pt x="4527" y="4627"/>
                  <a:pt x="4513" y="4607"/>
                  <a:pt x="4491" y="4595"/>
                </a:cubicBezTo>
                <a:cubicBezTo>
                  <a:pt x="4485" y="4592"/>
                  <a:pt x="4481" y="4589"/>
                  <a:pt x="4482" y="4582"/>
                </a:cubicBezTo>
                <a:cubicBezTo>
                  <a:pt x="4484" y="4576"/>
                  <a:pt x="4489" y="4566"/>
                  <a:pt x="4494" y="4567"/>
                </a:cubicBezTo>
                <a:cubicBezTo>
                  <a:pt x="4526" y="4577"/>
                  <a:pt x="4539" y="4548"/>
                  <a:pt x="4560" y="4535"/>
                </a:cubicBezTo>
                <a:cubicBezTo>
                  <a:pt x="4587" y="4575"/>
                  <a:pt x="4565" y="4613"/>
                  <a:pt x="4559" y="4651"/>
                </a:cubicBezTo>
                <a:cubicBezTo>
                  <a:pt x="4566" y="4656"/>
                  <a:pt x="4566" y="4671"/>
                  <a:pt x="4576" y="4669"/>
                </a:cubicBezTo>
                <a:cubicBezTo>
                  <a:pt x="4591" y="4665"/>
                  <a:pt x="4571" y="4650"/>
                  <a:pt x="4582" y="4641"/>
                </a:cubicBezTo>
                <a:cubicBezTo>
                  <a:pt x="4595" y="4664"/>
                  <a:pt x="4623" y="4670"/>
                  <a:pt x="4637" y="4692"/>
                </a:cubicBezTo>
                <a:cubicBezTo>
                  <a:pt x="4644" y="4703"/>
                  <a:pt x="4653" y="4705"/>
                  <a:pt x="4664" y="4702"/>
                </a:cubicBezTo>
                <a:cubicBezTo>
                  <a:pt x="4667" y="4701"/>
                  <a:pt x="4671" y="4697"/>
                  <a:pt x="4671" y="4694"/>
                </a:cubicBezTo>
                <a:cubicBezTo>
                  <a:pt x="4671" y="4682"/>
                  <a:pt x="4661" y="4679"/>
                  <a:pt x="4653" y="4674"/>
                </a:cubicBezTo>
                <a:cubicBezTo>
                  <a:pt x="4629" y="4659"/>
                  <a:pt x="4606" y="4643"/>
                  <a:pt x="4593" y="4617"/>
                </a:cubicBezTo>
                <a:cubicBezTo>
                  <a:pt x="4590" y="4611"/>
                  <a:pt x="4583" y="4600"/>
                  <a:pt x="4594" y="4594"/>
                </a:cubicBezTo>
                <a:cubicBezTo>
                  <a:pt x="4604" y="4587"/>
                  <a:pt x="4612" y="4590"/>
                  <a:pt x="4618" y="4601"/>
                </a:cubicBezTo>
                <a:cubicBezTo>
                  <a:pt x="4621" y="4606"/>
                  <a:pt x="4625" y="4611"/>
                  <a:pt x="4634" y="4609"/>
                </a:cubicBezTo>
                <a:cubicBezTo>
                  <a:pt x="4656" y="4603"/>
                  <a:pt x="4676" y="4601"/>
                  <a:pt x="4670" y="4635"/>
                </a:cubicBezTo>
                <a:cubicBezTo>
                  <a:pt x="4669" y="4642"/>
                  <a:pt x="4671" y="4648"/>
                  <a:pt x="4679" y="4652"/>
                </a:cubicBezTo>
                <a:cubicBezTo>
                  <a:pt x="4695" y="4658"/>
                  <a:pt x="4716" y="4655"/>
                  <a:pt x="4727" y="4674"/>
                </a:cubicBezTo>
                <a:cubicBezTo>
                  <a:pt x="4740" y="4653"/>
                  <a:pt x="4762" y="4696"/>
                  <a:pt x="4775" y="4668"/>
                </a:cubicBezTo>
                <a:cubicBezTo>
                  <a:pt x="4782" y="4689"/>
                  <a:pt x="4799" y="4659"/>
                  <a:pt x="4802" y="4672"/>
                </a:cubicBezTo>
                <a:cubicBezTo>
                  <a:pt x="4811" y="4710"/>
                  <a:pt x="4823" y="4693"/>
                  <a:pt x="4838" y="4669"/>
                </a:cubicBezTo>
                <a:cubicBezTo>
                  <a:pt x="4841" y="4689"/>
                  <a:pt x="4841" y="4703"/>
                  <a:pt x="4846" y="4716"/>
                </a:cubicBezTo>
                <a:cubicBezTo>
                  <a:pt x="4851" y="4731"/>
                  <a:pt x="4858" y="4749"/>
                  <a:pt x="4878" y="4730"/>
                </a:cubicBezTo>
                <a:cubicBezTo>
                  <a:pt x="4883" y="4726"/>
                  <a:pt x="4889" y="4721"/>
                  <a:pt x="4892" y="4729"/>
                </a:cubicBezTo>
                <a:cubicBezTo>
                  <a:pt x="4906" y="4761"/>
                  <a:pt x="4912" y="4730"/>
                  <a:pt x="4918" y="4727"/>
                </a:cubicBezTo>
                <a:cubicBezTo>
                  <a:pt x="4951" y="4755"/>
                  <a:pt x="4983" y="4781"/>
                  <a:pt x="5015" y="4808"/>
                </a:cubicBezTo>
                <a:cubicBezTo>
                  <a:pt x="5014" y="4809"/>
                  <a:pt x="5010" y="4811"/>
                  <a:pt x="5008" y="4813"/>
                </a:cubicBezTo>
                <a:cubicBezTo>
                  <a:pt x="4997" y="4824"/>
                  <a:pt x="4991" y="4837"/>
                  <a:pt x="5002" y="4849"/>
                </a:cubicBezTo>
                <a:cubicBezTo>
                  <a:pt x="5015" y="4864"/>
                  <a:pt x="5023" y="4853"/>
                  <a:pt x="5031" y="4841"/>
                </a:cubicBezTo>
                <a:cubicBezTo>
                  <a:pt x="5035" y="4836"/>
                  <a:pt x="5040" y="4833"/>
                  <a:pt x="5044" y="4841"/>
                </a:cubicBezTo>
                <a:cubicBezTo>
                  <a:pt x="5056" y="4863"/>
                  <a:pt x="5072" y="4847"/>
                  <a:pt x="5085" y="4845"/>
                </a:cubicBezTo>
                <a:cubicBezTo>
                  <a:pt x="5099" y="4842"/>
                  <a:pt x="5092" y="4825"/>
                  <a:pt x="5094" y="4814"/>
                </a:cubicBezTo>
                <a:cubicBezTo>
                  <a:pt x="5095" y="4807"/>
                  <a:pt x="5086" y="4800"/>
                  <a:pt x="5096" y="4793"/>
                </a:cubicBezTo>
                <a:cubicBezTo>
                  <a:pt x="5110" y="4785"/>
                  <a:pt x="5104" y="4777"/>
                  <a:pt x="5092" y="4774"/>
                </a:cubicBezTo>
                <a:cubicBezTo>
                  <a:pt x="5066" y="4768"/>
                  <a:pt x="5041" y="4762"/>
                  <a:pt x="5048" y="4726"/>
                </a:cubicBezTo>
                <a:cubicBezTo>
                  <a:pt x="5049" y="4725"/>
                  <a:pt x="5047" y="4724"/>
                  <a:pt x="5047" y="4723"/>
                </a:cubicBezTo>
                <a:cubicBezTo>
                  <a:pt x="5040" y="4715"/>
                  <a:pt x="5045" y="4709"/>
                  <a:pt x="5053" y="4711"/>
                </a:cubicBezTo>
                <a:cubicBezTo>
                  <a:pt x="5076" y="4716"/>
                  <a:pt x="5075" y="4705"/>
                  <a:pt x="5074" y="4687"/>
                </a:cubicBezTo>
                <a:cubicBezTo>
                  <a:pt x="5073" y="4677"/>
                  <a:pt x="5078" y="4665"/>
                  <a:pt x="5084" y="4654"/>
                </a:cubicBezTo>
                <a:cubicBezTo>
                  <a:pt x="5090" y="4643"/>
                  <a:pt x="5089" y="4633"/>
                  <a:pt x="5072" y="4629"/>
                </a:cubicBezTo>
                <a:cubicBezTo>
                  <a:pt x="5038" y="4622"/>
                  <a:pt x="5034" y="4608"/>
                  <a:pt x="5056" y="4580"/>
                </a:cubicBezTo>
                <a:cubicBezTo>
                  <a:pt x="5067" y="4566"/>
                  <a:pt x="5059" y="4518"/>
                  <a:pt x="5042" y="4512"/>
                </a:cubicBezTo>
                <a:cubicBezTo>
                  <a:pt x="5024" y="4505"/>
                  <a:pt x="5020" y="4493"/>
                  <a:pt x="5015" y="4476"/>
                </a:cubicBezTo>
                <a:cubicBezTo>
                  <a:pt x="5006" y="4443"/>
                  <a:pt x="4956" y="4416"/>
                  <a:pt x="4934" y="4430"/>
                </a:cubicBezTo>
                <a:cubicBezTo>
                  <a:pt x="4928" y="4407"/>
                  <a:pt x="4931" y="4382"/>
                  <a:pt x="4920" y="4359"/>
                </a:cubicBezTo>
                <a:cubicBezTo>
                  <a:pt x="4952" y="4362"/>
                  <a:pt x="4967" y="4392"/>
                  <a:pt x="4997" y="4396"/>
                </a:cubicBezTo>
                <a:cubicBezTo>
                  <a:pt x="5026" y="4399"/>
                  <a:pt x="5042" y="4411"/>
                  <a:pt x="5028" y="4446"/>
                </a:cubicBezTo>
                <a:cubicBezTo>
                  <a:pt x="5025" y="4454"/>
                  <a:pt x="5036" y="4479"/>
                  <a:pt x="5044" y="4480"/>
                </a:cubicBezTo>
                <a:cubicBezTo>
                  <a:pt x="5064" y="4484"/>
                  <a:pt x="5082" y="4491"/>
                  <a:pt x="5098" y="4505"/>
                </a:cubicBezTo>
                <a:cubicBezTo>
                  <a:pt x="5104" y="4493"/>
                  <a:pt x="5089" y="4478"/>
                  <a:pt x="5103" y="4474"/>
                </a:cubicBezTo>
                <a:cubicBezTo>
                  <a:pt x="5139" y="4464"/>
                  <a:pt x="5121" y="4452"/>
                  <a:pt x="5107" y="4438"/>
                </a:cubicBezTo>
                <a:cubicBezTo>
                  <a:pt x="5100" y="4430"/>
                  <a:pt x="5089" y="4414"/>
                  <a:pt x="5099" y="4409"/>
                </a:cubicBezTo>
                <a:cubicBezTo>
                  <a:pt x="5120" y="4399"/>
                  <a:pt x="5126" y="4378"/>
                  <a:pt x="5141" y="4361"/>
                </a:cubicBezTo>
                <a:cubicBezTo>
                  <a:pt x="5150" y="4372"/>
                  <a:pt x="5157" y="4387"/>
                  <a:pt x="5175" y="4387"/>
                </a:cubicBezTo>
                <a:cubicBezTo>
                  <a:pt x="5168" y="4362"/>
                  <a:pt x="5184" y="4341"/>
                  <a:pt x="5177" y="4317"/>
                </a:cubicBezTo>
                <a:cubicBezTo>
                  <a:pt x="5186" y="4318"/>
                  <a:pt x="5190" y="4325"/>
                  <a:pt x="5198" y="4324"/>
                </a:cubicBezTo>
                <a:cubicBezTo>
                  <a:pt x="5206" y="4323"/>
                  <a:pt x="5213" y="4327"/>
                  <a:pt x="5217" y="4334"/>
                </a:cubicBezTo>
                <a:cubicBezTo>
                  <a:pt x="5225" y="4347"/>
                  <a:pt x="5237" y="4348"/>
                  <a:pt x="5250" y="4347"/>
                </a:cubicBezTo>
                <a:cubicBezTo>
                  <a:pt x="5273" y="4346"/>
                  <a:pt x="5289" y="4363"/>
                  <a:pt x="5278" y="4381"/>
                </a:cubicBezTo>
                <a:cubicBezTo>
                  <a:pt x="5264" y="4404"/>
                  <a:pt x="5273" y="4422"/>
                  <a:pt x="5280" y="4441"/>
                </a:cubicBezTo>
                <a:cubicBezTo>
                  <a:pt x="5302" y="4416"/>
                  <a:pt x="5316" y="4408"/>
                  <a:pt x="5331" y="4413"/>
                </a:cubicBezTo>
                <a:cubicBezTo>
                  <a:pt x="5320" y="4421"/>
                  <a:pt x="5319" y="4430"/>
                  <a:pt x="5324" y="4481"/>
                </a:cubicBezTo>
                <a:cubicBezTo>
                  <a:pt x="5314" y="4477"/>
                  <a:pt x="5304" y="4474"/>
                  <a:pt x="5295" y="4468"/>
                </a:cubicBezTo>
                <a:cubicBezTo>
                  <a:pt x="5290" y="4465"/>
                  <a:pt x="5286" y="4459"/>
                  <a:pt x="5281" y="4467"/>
                </a:cubicBezTo>
                <a:cubicBezTo>
                  <a:pt x="5277" y="4473"/>
                  <a:pt x="5282" y="4480"/>
                  <a:pt x="5287" y="4481"/>
                </a:cubicBezTo>
                <a:cubicBezTo>
                  <a:pt x="5306" y="4485"/>
                  <a:pt x="5321" y="4501"/>
                  <a:pt x="5341" y="4501"/>
                </a:cubicBezTo>
                <a:cubicBezTo>
                  <a:pt x="5364" y="4502"/>
                  <a:pt x="5371" y="4512"/>
                  <a:pt x="5361" y="4532"/>
                </a:cubicBezTo>
                <a:cubicBezTo>
                  <a:pt x="5358" y="4537"/>
                  <a:pt x="5356" y="4542"/>
                  <a:pt x="5353" y="4548"/>
                </a:cubicBezTo>
                <a:cubicBezTo>
                  <a:pt x="5348" y="4559"/>
                  <a:pt x="5350" y="4569"/>
                  <a:pt x="5359" y="4576"/>
                </a:cubicBezTo>
                <a:cubicBezTo>
                  <a:pt x="5369" y="4585"/>
                  <a:pt x="5373" y="4573"/>
                  <a:pt x="5379" y="4567"/>
                </a:cubicBezTo>
                <a:cubicBezTo>
                  <a:pt x="5386" y="4560"/>
                  <a:pt x="5400" y="4557"/>
                  <a:pt x="5403" y="4566"/>
                </a:cubicBezTo>
                <a:cubicBezTo>
                  <a:pt x="5412" y="4588"/>
                  <a:pt x="5439" y="4600"/>
                  <a:pt x="5437" y="4628"/>
                </a:cubicBezTo>
                <a:cubicBezTo>
                  <a:pt x="5454" y="4622"/>
                  <a:pt x="5461" y="4602"/>
                  <a:pt x="5481" y="4607"/>
                </a:cubicBezTo>
                <a:cubicBezTo>
                  <a:pt x="5504" y="4612"/>
                  <a:pt x="5512" y="4591"/>
                  <a:pt x="5518" y="4577"/>
                </a:cubicBezTo>
                <a:cubicBezTo>
                  <a:pt x="5524" y="4562"/>
                  <a:pt x="5507" y="4557"/>
                  <a:pt x="5495" y="4554"/>
                </a:cubicBezTo>
                <a:cubicBezTo>
                  <a:pt x="5490" y="4552"/>
                  <a:pt x="5487" y="4549"/>
                  <a:pt x="5486" y="4544"/>
                </a:cubicBezTo>
                <a:cubicBezTo>
                  <a:pt x="5482" y="4515"/>
                  <a:pt x="5453" y="4504"/>
                  <a:pt x="5439" y="4484"/>
                </a:cubicBezTo>
                <a:cubicBezTo>
                  <a:pt x="5435" y="4479"/>
                  <a:pt x="5426" y="4475"/>
                  <a:pt x="5423" y="4479"/>
                </a:cubicBezTo>
                <a:cubicBezTo>
                  <a:pt x="5413" y="4493"/>
                  <a:pt x="5403" y="4486"/>
                  <a:pt x="5399" y="4478"/>
                </a:cubicBezTo>
                <a:cubicBezTo>
                  <a:pt x="5393" y="4463"/>
                  <a:pt x="5413" y="4452"/>
                  <a:pt x="5408" y="4436"/>
                </a:cubicBezTo>
                <a:cubicBezTo>
                  <a:pt x="5418" y="4437"/>
                  <a:pt x="5423" y="4446"/>
                  <a:pt x="5432" y="4457"/>
                </a:cubicBezTo>
                <a:cubicBezTo>
                  <a:pt x="5428" y="4424"/>
                  <a:pt x="5458" y="4431"/>
                  <a:pt x="5468" y="4416"/>
                </a:cubicBezTo>
                <a:cubicBezTo>
                  <a:pt x="5468" y="4429"/>
                  <a:pt x="5472" y="4438"/>
                  <a:pt x="5478" y="4448"/>
                </a:cubicBezTo>
                <a:cubicBezTo>
                  <a:pt x="5483" y="4457"/>
                  <a:pt x="5489" y="4463"/>
                  <a:pt x="5497" y="4451"/>
                </a:cubicBezTo>
                <a:cubicBezTo>
                  <a:pt x="5512" y="4429"/>
                  <a:pt x="5525" y="4437"/>
                  <a:pt x="5538" y="4453"/>
                </a:cubicBezTo>
                <a:cubicBezTo>
                  <a:pt x="5548" y="4466"/>
                  <a:pt x="5554" y="4463"/>
                  <a:pt x="5555" y="4449"/>
                </a:cubicBezTo>
                <a:cubicBezTo>
                  <a:pt x="5557" y="4435"/>
                  <a:pt x="5568" y="4436"/>
                  <a:pt x="5576" y="4432"/>
                </a:cubicBezTo>
                <a:cubicBezTo>
                  <a:pt x="5580" y="4431"/>
                  <a:pt x="5584" y="4428"/>
                  <a:pt x="5586" y="4433"/>
                </a:cubicBezTo>
                <a:cubicBezTo>
                  <a:pt x="5588" y="4436"/>
                  <a:pt x="5589" y="4441"/>
                  <a:pt x="5586" y="4444"/>
                </a:cubicBezTo>
                <a:cubicBezTo>
                  <a:pt x="5560" y="4460"/>
                  <a:pt x="5566" y="4488"/>
                  <a:pt x="5563" y="4512"/>
                </a:cubicBezTo>
                <a:cubicBezTo>
                  <a:pt x="5560" y="4539"/>
                  <a:pt x="5572" y="4541"/>
                  <a:pt x="5599" y="4537"/>
                </a:cubicBezTo>
                <a:cubicBezTo>
                  <a:pt x="5627" y="4533"/>
                  <a:pt x="5618" y="4515"/>
                  <a:pt x="5619" y="4499"/>
                </a:cubicBezTo>
                <a:cubicBezTo>
                  <a:pt x="5639" y="4518"/>
                  <a:pt x="5654" y="4516"/>
                  <a:pt x="5651" y="4511"/>
                </a:cubicBezTo>
                <a:cubicBezTo>
                  <a:pt x="5637" y="4488"/>
                  <a:pt x="5677" y="4451"/>
                  <a:pt x="5631" y="4439"/>
                </a:cubicBezTo>
                <a:cubicBezTo>
                  <a:pt x="5626" y="4438"/>
                  <a:pt x="5622" y="4425"/>
                  <a:pt x="5622" y="4419"/>
                </a:cubicBezTo>
                <a:cubicBezTo>
                  <a:pt x="5624" y="4400"/>
                  <a:pt x="5628" y="4382"/>
                  <a:pt x="5631" y="4363"/>
                </a:cubicBezTo>
                <a:cubicBezTo>
                  <a:pt x="5642" y="4370"/>
                  <a:pt x="5636" y="4376"/>
                  <a:pt x="5636" y="4383"/>
                </a:cubicBezTo>
                <a:cubicBezTo>
                  <a:pt x="5635" y="4401"/>
                  <a:pt x="5663" y="4422"/>
                  <a:pt x="5676" y="4411"/>
                </a:cubicBezTo>
                <a:cubicBezTo>
                  <a:pt x="5684" y="4404"/>
                  <a:pt x="5690" y="4405"/>
                  <a:pt x="5697" y="4407"/>
                </a:cubicBezTo>
                <a:cubicBezTo>
                  <a:pt x="5722" y="4412"/>
                  <a:pt x="5739" y="4407"/>
                  <a:pt x="5737" y="4375"/>
                </a:cubicBezTo>
                <a:cubicBezTo>
                  <a:pt x="5747" y="4381"/>
                  <a:pt x="5748" y="4392"/>
                  <a:pt x="5758" y="4394"/>
                </a:cubicBezTo>
                <a:cubicBezTo>
                  <a:pt x="5766" y="4396"/>
                  <a:pt x="5778" y="4394"/>
                  <a:pt x="5774" y="4386"/>
                </a:cubicBezTo>
                <a:cubicBezTo>
                  <a:pt x="5764" y="4367"/>
                  <a:pt x="5761" y="4338"/>
                  <a:pt x="5747" y="4331"/>
                </a:cubicBezTo>
                <a:cubicBezTo>
                  <a:pt x="5724" y="4320"/>
                  <a:pt x="5725" y="4304"/>
                  <a:pt x="5718" y="4283"/>
                </a:cubicBezTo>
                <a:cubicBezTo>
                  <a:pt x="5727" y="4289"/>
                  <a:pt x="5732" y="4292"/>
                  <a:pt x="5736" y="4296"/>
                </a:cubicBezTo>
                <a:cubicBezTo>
                  <a:pt x="5740" y="4300"/>
                  <a:pt x="5743" y="4307"/>
                  <a:pt x="5750" y="4302"/>
                </a:cubicBezTo>
                <a:cubicBezTo>
                  <a:pt x="5755" y="4298"/>
                  <a:pt x="5754" y="4291"/>
                  <a:pt x="5751" y="4286"/>
                </a:cubicBezTo>
                <a:cubicBezTo>
                  <a:pt x="5748" y="4281"/>
                  <a:pt x="5743" y="4274"/>
                  <a:pt x="5739" y="4274"/>
                </a:cubicBezTo>
                <a:cubicBezTo>
                  <a:pt x="5716" y="4270"/>
                  <a:pt x="5723" y="4257"/>
                  <a:pt x="5728" y="4244"/>
                </a:cubicBezTo>
                <a:cubicBezTo>
                  <a:pt x="5730" y="4235"/>
                  <a:pt x="5728" y="4220"/>
                  <a:pt x="5720" y="4226"/>
                </a:cubicBezTo>
                <a:cubicBezTo>
                  <a:pt x="5691" y="4247"/>
                  <a:pt x="5673" y="4221"/>
                  <a:pt x="5654" y="4211"/>
                </a:cubicBezTo>
                <a:cubicBezTo>
                  <a:pt x="5646" y="4207"/>
                  <a:pt x="5621" y="4206"/>
                  <a:pt x="5628" y="4195"/>
                </a:cubicBezTo>
                <a:cubicBezTo>
                  <a:pt x="5641" y="4176"/>
                  <a:pt x="5646" y="4206"/>
                  <a:pt x="5658" y="4207"/>
                </a:cubicBezTo>
                <a:cubicBezTo>
                  <a:pt x="5665" y="4208"/>
                  <a:pt x="5672" y="4216"/>
                  <a:pt x="5679" y="4209"/>
                </a:cubicBezTo>
                <a:cubicBezTo>
                  <a:pt x="5687" y="4202"/>
                  <a:pt x="5681" y="4195"/>
                  <a:pt x="5677" y="4189"/>
                </a:cubicBezTo>
                <a:cubicBezTo>
                  <a:pt x="5664" y="4168"/>
                  <a:pt x="5661" y="4143"/>
                  <a:pt x="5643" y="4126"/>
                </a:cubicBezTo>
                <a:cubicBezTo>
                  <a:pt x="5628" y="4112"/>
                  <a:pt x="5630" y="4097"/>
                  <a:pt x="5645" y="4084"/>
                </a:cubicBezTo>
                <a:cubicBezTo>
                  <a:pt x="5657" y="4074"/>
                  <a:pt x="5665" y="4067"/>
                  <a:pt x="5642" y="4060"/>
                </a:cubicBezTo>
                <a:cubicBezTo>
                  <a:pt x="5634" y="4058"/>
                  <a:pt x="5623" y="4049"/>
                  <a:pt x="5620" y="4045"/>
                </a:cubicBezTo>
                <a:cubicBezTo>
                  <a:pt x="5607" y="4019"/>
                  <a:pt x="5609" y="4018"/>
                  <a:pt x="5583" y="4020"/>
                </a:cubicBezTo>
                <a:cubicBezTo>
                  <a:pt x="5566" y="4021"/>
                  <a:pt x="5566" y="4016"/>
                  <a:pt x="5572" y="4002"/>
                </a:cubicBezTo>
                <a:cubicBezTo>
                  <a:pt x="5576" y="3991"/>
                  <a:pt x="5581" y="3987"/>
                  <a:pt x="5592" y="3986"/>
                </a:cubicBezTo>
                <a:cubicBezTo>
                  <a:pt x="5615" y="3986"/>
                  <a:pt x="5615" y="3949"/>
                  <a:pt x="5643" y="3955"/>
                </a:cubicBezTo>
                <a:cubicBezTo>
                  <a:pt x="5642" y="3950"/>
                  <a:pt x="5643" y="3945"/>
                  <a:pt x="5641" y="3941"/>
                </a:cubicBezTo>
                <a:cubicBezTo>
                  <a:pt x="5639" y="3935"/>
                  <a:pt x="5634" y="3929"/>
                  <a:pt x="5633" y="3923"/>
                </a:cubicBezTo>
                <a:cubicBezTo>
                  <a:pt x="5630" y="3903"/>
                  <a:pt x="5612" y="3905"/>
                  <a:pt x="5601" y="3902"/>
                </a:cubicBezTo>
                <a:cubicBezTo>
                  <a:pt x="5590" y="3899"/>
                  <a:pt x="5576" y="3908"/>
                  <a:pt x="5575" y="3924"/>
                </a:cubicBezTo>
                <a:cubicBezTo>
                  <a:pt x="5574" y="3935"/>
                  <a:pt x="5568" y="3942"/>
                  <a:pt x="5564" y="3951"/>
                </a:cubicBezTo>
                <a:cubicBezTo>
                  <a:pt x="5563" y="3954"/>
                  <a:pt x="5564" y="3965"/>
                  <a:pt x="5558" y="3958"/>
                </a:cubicBezTo>
                <a:cubicBezTo>
                  <a:pt x="5537" y="3935"/>
                  <a:pt x="5514" y="3984"/>
                  <a:pt x="5494" y="3954"/>
                </a:cubicBezTo>
                <a:cubicBezTo>
                  <a:pt x="5493" y="3952"/>
                  <a:pt x="5491" y="3962"/>
                  <a:pt x="5488" y="3965"/>
                </a:cubicBezTo>
                <a:cubicBezTo>
                  <a:pt x="5482" y="3974"/>
                  <a:pt x="5471" y="3972"/>
                  <a:pt x="5463" y="3972"/>
                </a:cubicBezTo>
                <a:cubicBezTo>
                  <a:pt x="5458" y="3972"/>
                  <a:pt x="5450" y="3966"/>
                  <a:pt x="5450" y="3958"/>
                </a:cubicBezTo>
                <a:cubicBezTo>
                  <a:pt x="5450" y="3946"/>
                  <a:pt x="5461" y="3946"/>
                  <a:pt x="5465" y="3942"/>
                </a:cubicBezTo>
                <a:cubicBezTo>
                  <a:pt x="5471" y="3935"/>
                  <a:pt x="5507" y="3941"/>
                  <a:pt x="5480" y="3916"/>
                </a:cubicBezTo>
                <a:cubicBezTo>
                  <a:pt x="5476" y="3913"/>
                  <a:pt x="5482" y="3910"/>
                  <a:pt x="5484" y="3906"/>
                </a:cubicBezTo>
                <a:cubicBezTo>
                  <a:pt x="5498" y="3884"/>
                  <a:pt x="5493" y="3873"/>
                  <a:pt x="5466" y="3871"/>
                </a:cubicBezTo>
                <a:cubicBezTo>
                  <a:pt x="5458" y="3870"/>
                  <a:pt x="5450" y="3871"/>
                  <a:pt x="5442" y="3871"/>
                </a:cubicBezTo>
                <a:cubicBezTo>
                  <a:pt x="5469" y="3864"/>
                  <a:pt x="5489" y="3856"/>
                  <a:pt x="5459" y="3825"/>
                </a:cubicBezTo>
                <a:cubicBezTo>
                  <a:pt x="5467" y="3823"/>
                  <a:pt x="5473" y="3822"/>
                  <a:pt x="5478" y="3821"/>
                </a:cubicBezTo>
                <a:cubicBezTo>
                  <a:pt x="5523" y="3775"/>
                  <a:pt x="5523" y="3775"/>
                  <a:pt x="5523" y="3775"/>
                </a:cubicBezTo>
                <a:cubicBezTo>
                  <a:pt x="5556" y="3779"/>
                  <a:pt x="5547" y="3754"/>
                  <a:pt x="5548" y="3737"/>
                </a:cubicBezTo>
                <a:cubicBezTo>
                  <a:pt x="5549" y="3730"/>
                  <a:pt x="5547" y="3721"/>
                  <a:pt x="5557" y="3723"/>
                </a:cubicBezTo>
                <a:cubicBezTo>
                  <a:pt x="5565" y="3724"/>
                  <a:pt x="5572" y="3731"/>
                  <a:pt x="5567" y="3740"/>
                </a:cubicBezTo>
                <a:cubicBezTo>
                  <a:pt x="5562" y="3751"/>
                  <a:pt x="5564" y="3760"/>
                  <a:pt x="5571" y="3767"/>
                </a:cubicBezTo>
                <a:cubicBezTo>
                  <a:pt x="5581" y="3777"/>
                  <a:pt x="5587" y="3789"/>
                  <a:pt x="5592" y="3802"/>
                </a:cubicBezTo>
                <a:cubicBezTo>
                  <a:pt x="5597" y="3815"/>
                  <a:pt x="5605" y="3809"/>
                  <a:pt x="5606" y="3802"/>
                </a:cubicBezTo>
                <a:cubicBezTo>
                  <a:pt x="5608" y="3785"/>
                  <a:pt x="5617" y="3788"/>
                  <a:pt x="5625" y="3794"/>
                </a:cubicBezTo>
                <a:cubicBezTo>
                  <a:pt x="5645" y="3807"/>
                  <a:pt x="5672" y="3799"/>
                  <a:pt x="5689" y="3819"/>
                </a:cubicBezTo>
                <a:cubicBezTo>
                  <a:pt x="5693" y="3823"/>
                  <a:pt x="5701" y="3822"/>
                  <a:pt x="5704" y="3816"/>
                </a:cubicBezTo>
                <a:cubicBezTo>
                  <a:pt x="5707" y="3810"/>
                  <a:pt x="5703" y="3805"/>
                  <a:pt x="5698" y="3801"/>
                </a:cubicBezTo>
                <a:cubicBezTo>
                  <a:pt x="5690" y="3795"/>
                  <a:pt x="5677" y="3796"/>
                  <a:pt x="5675" y="3785"/>
                </a:cubicBezTo>
                <a:cubicBezTo>
                  <a:pt x="5669" y="3756"/>
                  <a:pt x="5656" y="3778"/>
                  <a:pt x="5642" y="3783"/>
                </a:cubicBezTo>
                <a:cubicBezTo>
                  <a:pt x="5652" y="3770"/>
                  <a:pt x="5653" y="3760"/>
                  <a:pt x="5646" y="3748"/>
                </a:cubicBezTo>
                <a:cubicBezTo>
                  <a:pt x="5635" y="3731"/>
                  <a:pt x="5646" y="3727"/>
                  <a:pt x="5660" y="3729"/>
                </a:cubicBezTo>
                <a:cubicBezTo>
                  <a:pt x="5672" y="3731"/>
                  <a:pt x="5683" y="3735"/>
                  <a:pt x="5689" y="3720"/>
                </a:cubicBezTo>
                <a:cubicBezTo>
                  <a:pt x="5691" y="3716"/>
                  <a:pt x="5696" y="3717"/>
                  <a:pt x="5699" y="3720"/>
                </a:cubicBezTo>
                <a:cubicBezTo>
                  <a:pt x="5714" y="3740"/>
                  <a:pt x="5739" y="3747"/>
                  <a:pt x="5756" y="3766"/>
                </a:cubicBezTo>
                <a:cubicBezTo>
                  <a:pt x="5748" y="3775"/>
                  <a:pt x="5720" y="3780"/>
                  <a:pt x="5744" y="3795"/>
                </a:cubicBezTo>
                <a:cubicBezTo>
                  <a:pt x="5760" y="3806"/>
                  <a:pt x="5784" y="3800"/>
                  <a:pt x="5798" y="3818"/>
                </a:cubicBezTo>
                <a:cubicBezTo>
                  <a:pt x="5801" y="3821"/>
                  <a:pt x="5804" y="3816"/>
                  <a:pt x="5806" y="3812"/>
                </a:cubicBezTo>
                <a:cubicBezTo>
                  <a:pt x="5809" y="3804"/>
                  <a:pt x="5814" y="3797"/>
                  <a:pt x="5819" y="3790"/>
                </a:cubicBezTo>
                <a:cubicBezTo>
                  <a:pt x="5826" y="3778"/>
                  <a:pt x="5818" y="3759"/>
                  <a:pt x="5823" y="3757"/>
                </a:cubicBezTo>
                <a:cubicBezTo>
                  <a:pt x="5843" y="3747"/>
                  <a:pt x="5842" y="3735"/>
                  <a:pt x="5836" y="3719"/>
                </a:cubicBezTo>
                <a:cubicBezTo>
                  <a:pt x="5830" y="3700"/>
                  <a:pt x="5814" y="3696"/>
                  <a:pt x="5797" y="3696"/>
                </a:cubicBezTo>
                <a:cubicBezTo>
                  <a:pt x="5802" y="3686"/>
                  <a:pt x="5824" y="3685"/>
                  <a:pt x="5815" y="3671"/>
                </a:cubicBezTo>
                <a:cubicBezTo>
                  <a:pt x="5807" y="3659"/>
                  <a:pt x="5790" y="3661"/>
                  <a:pt x="5780" y="3673"/>
                </a:cubicBezTo>
                <a:cubicBezTo>
                  <a:pt x="5773" y="3682"/>
                  <a:pt x="5764" y="3682"/>
                  <a:pt x="5757" y="3678"/>
                </a:cubicBezTo>
                <a:cubicBezTo>
                  <a:pt x="5747" y="3673"/>
                  <a:pt x="5740" y="3658"/>
                  <a:pt x="5744" y="3651"/>
                </a:cubicBezTo>
                <a:cubicBezTo>
                  <a:pt x="5755" y="3623"/>
                  <a:pt x="5729" y="3618"/>
                  <a:pt x="5718" y="3617"/>
                </a:cubicBezTo>
                <a:cubicBezTo>
                  <a:pt x="5706" y="3616"/>
                  <a:pt x="5683" y="3620"/>
                  <a:pt x="5686" y="3645"/>
                </a:cubicBezTo>
                <a:cubicBezTo>
                  <a:pt x="5687" y="3652"/>
                  <a:pt x="5683" y="3654"/>
                  <a:pt x="5678" y="3654"/>
                </a:cubicBezTo>
                <a:cubicBezTo>
                  <a:pt x="5672" y="3653"/>
                  <a:pt x="5671" y="3649"/>
                  <a:pt x="5671" y="3643"/>
                </a:cubicBezTo>
                <a:cubicBezTo>
                  <a:pt x="5672" y="3622"/>
                  <a:pt x="5685" y="3601"/>
                  <a:pt x="5671" y="3579"/>
                </a:cubicBezTo>
                <a:cubicBezTo>
                  <a:pt x="5668" y="3574"/>
                  <a:pt x="5677" y="3576"/>
                  <a:pt x="5678" y="3574"/>
                </a:cubicBezTo>
                <a:cubicBezTo>
                  <a:pt x="5689" y="3559"/>
                  <a:pt x="5717" y="3570"/>
                  <a:pt x="5722" y="3549"/>
                </a:cubicBezTo>
                <a:cubicBezTo>
                  <a:pt x="5727" y="3530"/>
                  <a:pt x="5736" y="3508"/>
                  <a:pt x="5710" y="3492"/>
                </a:cubicBezTo>
                <a:cubicBezTo>
                  <a:pt x="5733" y="3493"/>
                  <a:pt x="5752" y="3494"/>
                  <a:pt x="5775" y="3496"/>
                </a:cubicBezTo>
                <a:cubicBezTo>
                  <a:pt x="5764" y="3472"/>
                  <a:pt x="5759" y="3451"/>
                  <a:pt x="5772" y="3430"/>
                </a:cubicBezTo>
                <a:cubicBezTo>
                  <a:pt x="5774" y="3428"/>
                  <a:pt x="5773" y="3424"/>
                  <a:pt x="5772" y="3422"/>
                </a:cubicBezTo>
                <a:cubicBezTo>
                  <a:pt x="5750" y="3383"/>
                  <a:pt x="5733" y="3339"/>
                  <a:pt x="5682" y="3327"/>
                </a:cubicBezTo>
                <a:cubicBezTo>
                  <a:pt x="5659" y="3321"/>
                  <a:pt x="5654" y="3291"/>
                  <a:pt x="5673" y="3275"/>
                </a:cubicBezTo>
                <a:cubicBezTo>
                  <a:pt x="5682" y="3268"/>
                  <a:pt x="5681" y="3264"/>
                  <a:pt x="5677" y="3256"/>
                </a:cubicBezTo>
                <a:cubicBezTo>
                  <a:pt x="5664" y="3231"/>
                  <a:pt x="5683" y="3228"/>
                  <a:pt x="5700" y="3222"/>
                </a:cubicBezTo>
                <a:cubicBezTo>
                  <a:pt x="5721" y="3215"/>
                  <a:pt x="5722" y="3229"/>
                  <a:pt x="5726" y="3241"/>
                </a:cubicBezTo>
                <a:cubicBezTo>
                  <a:pt x="5729" y="3254"/>
                  <a:pt x="5734" y="3265"/>
                  <a:pt x="5749" y="3257"/>
                </a:cubicBezTo>
                <a:cubicBezTo>
                  <a:pt x="5762" y="3251"/>
                  <a:pt x="5780" y="3249"/>
                  <a:pt x="5788" y="3242"/>
                </a:cubicBezTo>
                <a:cubicBezTo>
                  <a:pt x="5805" y="3228"/>
                  <a:pt x="5802" y="3196"/>
                  <a:pt x="5829" y="3186"/>
                </a:cubicBezTo>
                <a:cubicBezTo>
                  <a:pt x="5816" y="3165"/>
                  <a:pt x="5836" y="3152"/>
                  <a:pt x="5845" y="3142"/>
                </a:cubicBezTo>
                <a:cubicBezTo>
                  <a:pt x="5859" y="3125"/>
                  <a:pt x="5863" y="3109"/>
                  <a:pt x="5850" y="3096"/>
                </a:cubicBezTo>
                <a:cubicBezTo>
                  <a:pt x="5837" y="3081"/>
                  <a:pt x="5821" y="3060"/>
                  <a:pt x="5794" y="3077"/>
                </a:cubicBezTo>
                <a:cubicBezTo>
                  <a:pt x="5791" y="3080"/>
                  <a:pt x="5783" y="3082"/>
                  <a:pt x="5781" y="3080"/>
                </a:cubicBezTo>
                <a:cubicBezTo>
                  <a:pt x="5759" y="3061"/>
                  <a:pt x="5753" y="3077"/>
                  <a:pt x="5749" y="3096"/>
                </a:cubicBezTo>
                <a:cubicBezTo>
                  <a:pt x="5737" y="3088"/>
                  <a:pt x="5728" y="3081"/>
                  <a:pt x="5736" y="3067"/>
                </a:cubicBezTo>
                <a:cubicBezTo>
                  <a:pt x="5740" y="3060"/>
                  <a:pt x="5743" y="3054"/>
                  <a:pt x="5754" y="3055"/>
                </a:cubicBezTo>
                <a:cubicBezTo>
                  <a:pt x="5767" y="3057"/>
                  <a:pt x="5787" y="3059"/>
                  <a:pt x="5792" y="3052"/>
                </a:cubicBezTo>
                <a:cubicBezTo>
                  <a:pt x="5802" y="3038"/>
                  <a:pt x="5789" y="3023"/>
                  <a:pt x="5779" y="3010"/>
                </a:cubicBezTo>
                <a:cubicBezTo>
                  <a:pt x="5778" y="3008"/>
                  <a:pt x="5776" y="3006"/>
                  <a:pt x="5775" y="3003"/>
                </a:cubicBezTo>
                <a:cubicBezTo>
                  <a:pt x="5760" y="2977"/>
                  <a:pt x="5763" y="2969"/>
                  <a:pt x="5792" y="2967"/>
                </a:cubicBezTo>
                <a:cubicBezTo>
                  <a:pt x="5834" y="2962"/>
                  <a:pt x="5843" y="2969"/>
                  <a:pt x="5850" y="3007"/>
                </a:cubicBezTo>
                <a:cubicBezTo>
                  <a:pt x="5852" y="3019"/>
                  <a:pt x="5854" y="3040"/>
                  <a:pt x="5867" y="3039"/>
                </a:cubicBezTo>
                <a:cubicBezTo>
                  <a:pt x="5883" y="3037"/>
                  <a:pt x="5883" y="3017"/>
                  <a:pt x="5881" y="3002"/>
                </a:cubicBezTo>
                <a:cubicBezTo>
                  <a:pt x="5880" y="2998"/>
                  <a:pt x="5873" y="2991"/>
                  <a:pt x="5880" y="2991"/>
                </a:cubicBezTo>
                <a:cubicBezTo>
                  <a:pt x="5902" y="2991"/>
                  <a:pt x="5894" y="2980"/>
                  <a:pt x="5889" y="2971"/>
                </a:cubicBezTo>
                <a:cubicBezTo>
                  <a:pt x="5886" y="2965"/>
                  <a:pt x="5886" y="2963"/>
                  <a:pt x="5893" y="2963"/>
                </a:cubicBezTo>
                <a:cubicBezTo>
                  <a:pt x="5902" y="2962"/>
                  <a:pt x="5910" y="2961"/>
                  <a:pt x="5909" y="2950"/>
                </a:cubicBezTo>
                <a:cubicBezTo>
                  <a:pt x="5908" y="2940"/>
                  <a:pt x="5900" y="2935"/>
                  <a:pt x="5892" y="2932"/>
                </a:cubicBezTo>
                <a:cubicBezTo>
                  <a:pt x="5870" y="2925"/>
                  <a:pt x="5849" y="2913"/>
                  <a:pt x="5824" y="2923"/>
                </a:cubicBezTo>
                <a:cubicBezTo>
                  <a:pt x="5817" y="2926"/>
                  <a:pt x="5804" y="2925"/>
                  <a:pt x="5810" y="2914"/>
                </a:cubicBezTo>
                <a:cubicBezTo>
                  <a:pt x="5817" y="2904"/>
                  <a:pt x="5810" y="2893"/>
                  <a:pt x="5816" y="2885"/>
                </a:cubicBezTo>
                <a:cubicBezTo>
                  <a:pt x="5830" y="2865"/>
                  <a:pt x="5818" y="2861"/>
                  <a:pt x="5802" y="2860"/>
                </a:cubicBezTo>
                <a:cubicBezTo>
                  <a:pt x="5776" y="2859"/>
                  <a:pt x="5755" y="2857"/>
                  <a:pt x="5750" y="2823"/>
                </a:cubicBezTo>
                <a:cubicBezTo>
                  <a:pt x="5747" y="2805"/>
                  <a:pt x="5749" y="2788"/>
                  <a:pt x="5758" y="2780"/>
                </a:cubicBezTo>
                <a:cubicBezTo>
                  <a:pt x="5772" y="2770"/>
                  <a:pt x="5775" y="2758"/>
                  <a:pt x="5777" y="2744"/>
                </a:cubicBezTo>
                <a:cubicBezTo>
                  <a:pt x="5780" y="2727"/>
                  <a:pt x="5794" y="2718"/>
                  <a:pt x="5805" y="2729"/>
                </a:cubicBezTo>
                <a:cubicBezTo>
                  <a:pt x="5827" y="2748"/>
                  <a:pt x="5842" y="2741"/>
                  <a:pt x="5857" y="2724"/>
                </a:cubicBezTo>
                <a:cubicBezTo>
                  <a:pt x="5865" y="2731"/>
                  <a:pt x="5856" y="2746"/>
                  <a:pt x="5870" y="2745"/>
                </a:cubicBezTo>
                <a:cubicBezTo>
                  <a:pt x="5880" y="2745"/>
                  <a:pt x="5883" y="2734"/>
                  <a:pt x="5886" y="2726"/>
                </a:cubicBezTo>
                <a:cubicBezTo>
                  <a:pt x="5888" y="2721"/>
                  <a:pt x="5888" y="2715"/>
                  <a:pt x="5889" y="2709"/>
                </a:cubicBezTo>
                <a:cubicBezTo>
                  <a:pt x="5889" y="2703"/>
                  <a:pt x="5891" y="2696"/>
                  <a:pt x="5899" y="2700"/>
                </a:cubicBezTo>
                <a:cubicBezTo>
                  <a:pt x="5914" y="2709"/>
                  <a:pt x="5916" y="2698"/>
                  <a:pt x="5918" y="2689"/>
                </a:cubicBezTo>
                <a:cubicBezTo>
                  <a:pt x="5920" y="2675"/>
                  <a:pt x="5931" y="2665"/>
                  <a:pt x="5940" y="2667"/>
                </a:cubicBezTo>
                <a:cubicBezTo>
                  <a:pt x="5973" y="2674"/>
                  <a:pt x="5955" y="2654"/>
                  <a:pt x="5952" y="2646"/>
                </a:cubicBezTo>
                <a:cubicBezTo>
                  <a:pt x="5947" y="2633"/>
                  <a:pt x="5934" y="2622"/>
                  <a:pt x="5943" y="2608"/>
                </a:cubicBezTo>
                <a:cubicBezTo>
                  <a:pt x="5956" y="2589"/>
                  <a:pt x="5952" y="2578"/>
                  <a:pt x="5933" y="2570"/>
                </a:cubicBezTo>
                <a:cubicBezTo>
                  <a:pt x="5929" y="2568"/>
                  <a:pt x="5926" y="2565"/>
                  <a:pt x="5927" y="2561"/>
                </a:cubicBezTo>
                <a:cubicBezTo>
                  <a:pt x="5929" y="2555"/>
                  <a:pt x="5935" y="2558"/>
                  <a:pt x="5939" y="2556"/>
                </a:cubicBezTo>
                <a:cubicBezTo>
                  <a:pt x="5960" y="2548"/>
                  <a:pt x="5963" y="2574"/>
                  <a:pt x="5979" y="2579"/>
                </a:cubicBezTo>
                <a:cubicBezTo>
                  <a:pt x="5984" y="2561"/>
                  <a:pt x="5982" y="2543"/>
                  <a:pt x="5992" y="2527"/>
                </a:cubicBezTo>
                <a:cubicBezTo>
                  <a:pt x="5995" y="2531"/>
                  <a:pt x="5997" y="2534"/>
                  <a:pt x="6000" y="2537"/>
                </a:cubicBezTo>
                <a:cubicBezTo>
                  <a:pt x="6007" y="2543"/>
                  <a:pt x="6014" y="2556"/>
                  <a:pt x="6024" y="2547"/>
                </a:cubicBezTo>
                <a:cubicBezTo>
                  <a:pt x="6034" y="2538"/>
                  <a:pt x="6019" y="2532"/>
                  <a:pt x="6015" y="2524"/>
                </a:cubicBezTo>
                <a:close/>
                <a:moveTo>
                  <a:pt x="5583" y="1521"/>
                </a:moveTo>
                <a:cubicBezTo>
                  <a:pt x="5602" y="1539"/>
                  <a:pt x="5609" y="1566"/>
                  <a:pt x="5638" y="1563"/>
                </a:cubicBezTo>
                <a:cubicBezTo>
                  <a:pt x="5647" y="1563"/>
                  <a:pt x="5643" y="1576"/>
                  <a:pt x="5641" y="1583"/>
                </a:cubicBezTo>
                <a:cubicBezTo>
                  <a:pt x="5632" y="1608"/>
                  <a:pt x="5611" y="1619"/>
                  <a:pt x="5588" y="1629"/>
                </a:cubicBezTo>
                <a:cubicBezTo>
                  <a:pt x="5598" y="1614"/>
                  <a:pt x="5608" y="1599"/>
                  <a:pt x="5618" y="1584"/>
                </a:cubicBezTo>
                <a:cubicBezTo>
                  <a:pt x="5621" y="1579"/>
                  <a:pt x="5624" y="1574"/>
                  <a:pt x="5619" y="1568"/>
                </a:cubicBezTo>
                <a:cubicBezTo>
                  <a:pt x="5615" y="1564"/>
                  <a:pt x="5609" y="1565"/>
                  <a:pt x="5606" y="1568"/>
                </a:cubicBezTo>
                <a:cubicBezTo>
                  <a:pt x="5582" y="1586"/>
                  <a:pt x="5574" y="1565"/>
                  <a:pt x="5561" y="1549"/>
                </a:cubicBezTo>
                <a:cubicBezTo>
                  <a:pt x="5579" y="1551"/>
                  <a:pt x="5580" y="1537"/>
                  <a:pt x="5583" y="1521"/>
                </a:cubicBezTo>
                <a:close/>
                <a:moveTo>
                  <a:pt x="313" y="2993"/>
                </a:moveTo>
                <a:cubicBezTo>
                  <a:pt x="295" y="3000"/>
                  <a:pt x="278" y="3012"/>
                  <a:pt x="255" y="3010"/>
                </a:cubicBezTo>
                <a:cubicBezTo>
                  <a:pt x="263" y="3002"/>
                  <a:pt x="259" y="2985"/>
                  <a:pt x="281" y="2988"/>
                </a:cubicBezTo>
                <a:cubicBezTo>
                  <a:pt x="293" y="2989"/>
                  <a:pt x="297" y="2972"/>
                  <a:pt x="285" y="2965"/>
                </a:cubicBezTo>
                <a:cubicBezTo>
                  <a:pt x="258" y="2949"/>
                  <a:pt x="274" y="2933"/>
                  <a:pt x="284" y="2920"/>
                </a:cubicBezTo>
                <a:cubicBezTo>
                  <a:pt x="291" y="2912"/>
                  <a:pt x="290" y="2907"/>
                  <a:pt x="284" y="2901"/>
                </a:cubicBezTo>
                <a:cubicBezTo>
                  <a:pt x="262" y="2876"/>
                  <a:pt x="289" y="2875"/>
                  <a:pt x="300" y="2871"/>
                </a:cubicBezTo>
                <a:cubicBezTo>
                  <a:pt x="311" y="2867"/>
                  <a:pt x="322" y="2875"/>
                  <a:pt x="312" y="2886"/>
                </a:cubicBezTo>
                <a:cubicBezTo>
                  <a:pt x="295" y="2906"/>
                  <a:pt x="311" y="2930"/>
                  <a:pt x="300" y="2950"/>
                </a:cubicBezTo>
                <a:cubicBezTo>
                  <a:pt x="296" y="2956"/>
                  <a:pt x="304" y="2968"/>
                  <a:pt x="314" y="2972"/>
                </a:cubicBezTo>
                <a:cubicBezTo>
                  <a:pt x="334" y="2980"/>
                  <a:pt x="326" y="2987"/>
                  <a:pt x="313" y="2993"/>
                </a:cubicBezTo>
                <a:close/>
                <a:moveTo>
                  <a:pt x="352" y="2703"/>
                </a:moveTo>
                <a:cubicBezTo>
                  <a:pt x="360" y="2719"/>
                  <a:pt x="331" y="2754"/>
                  <a:pt x="317" y="2753"/>
                </a:cubicBezTo>
                <a:cubicBezTo>
                  <a:pt x="320" y="2702"/>
                  <a:pt x="331" y="2653"/>
                  <a:pt x="361" y="2607"/>
                </a:cubicBezTo>
                <a:cubicBezTo>
                  <a:pt x="370" y="2615"/>
                  <a:pt x="372" y="2629"/>
                  <a:pt x="389" y="2634"/>
                </a:cubicBezTo>
                <a:cubicBezTo>
                  <a:pt x="356" y="2651"/>
                  <a:pt x="334" y="2666"/>
                  <a:pt x="352" y="2703"/>
                </a:cubicBezTo>
                <a:close/>
                <a:moveTo>
                  <a:pt x="219" y="4408"/>
                </a:moveTo>
                <a:cubicBezTo>
                  <a:pt x="206" y="4411"/>
                  <a:pt x="191" y="4404"/>
                  <a:pt x="189" y="4397"/>
                </a:cubicBezTo>
                <a:cubicBezTo>
                  <a:pt x="187" y="4387"/>
                  <a:pt x="180" y="4382"/>
                  <a:pt x="177" y="4374"/>
                </a:cubicBezTo>
                <a:cubicBezTo>
                  <a:pt x="172" y="4360"/>
                  <a:pt x="168" y="4343"/>
                  <a:pt x="189" y="4336"/>
                </a:cubicBezTo>
                <a:cubicBezTo>
                  <a:pt x="201" y="4332"/>
                  <a:pt x="209" y="4325"/>
                  <a:pt x="213" y="4311"/>
                </a:cubicBezTo>
                <a:cubicBezTo>
                  <a:pt x="217" y="4341"/>
                  <a:pt x="221" y="4371"/>
                  <a:pt x="225" y="4401"/>
                </a:cubicBezTo>
                <a:cubicBezTo>
                  <a:pt x="226" y="4408"/>
                  <a:pt x="222" y="4407"/>
                  <a:pt x="219" y="4408"/>
                </a:cubicBezTo>
                <a:close/>
                <a:moveTo>
                  <a:pt x="526" y="3989"/>
                </a:moveTo>
                <a:cubicBezTo>
                  <a:pt x="515" y="4008"/>
                  <a:pt x="506" y="4029"/>
                  <a:pt x="479" y="4030"/>
                </a:cubicBezTo>
                <a:cubicBezTo>
                  <a:pt x="473" y="4030"/>
                  <a:pt x="468" y="4038"/>
                  <a:pt x="470" y="4046"/>
                </a:cubicBezTo>
                <a:cubicBezTo>
                  <a:pt x="458" y="4040"/>
                  <a:pt x="458" y="4019"/>
                  <a:pt x="436" y="4029"/>
                </a:cubicBezTo>
                <a:cubicBezTo>
                  <a:pt x="421" y="4035"/>
                  <a:pt x="405" y="4022"/>
                  <a:pt x="407" y="4003"/>
                </a:cubicBezTo>
                <a:cubicBezTo>
                  <a:pt x="409" y="3984"/>
                  <a:pt x="403" y="3977"/>
                  <a:pt x="385" y="3980"/>
                </a:cubicBezTo>
                <a:cubicBezTo>
                  <a:pt x="372" y="3983"/>
                  <a:pt x="365" y="3977"/>
                  <a:pt x="358" y="3968"/>
                </a:cubicBezTo>
                <a:cubicBezTo>
                  <a:pt x="345" y="3952"/>
                  <a:pt x="334" y="3937"/>
                  <a:pt x="308" y="3944"/>
                </a:cubicBezTo>
                <a:cubicBezTo>
                  <a:pt x="293" y="3948"/>
                  <a:pt x="292" y="3925"/>
                  <a:pt x="285" y="3913"/>
                </a:cubicBezTo>
                <a:cubicBezTo>
                  <a:pt x="304" y="3915"/>
                  <a:pt x="328" y="3896"/>
                  <a:pt x="340" y="3927"/>
                </a:cubicBezTo>
                <a:cubicBezTo>
                  <a:pt x="342" y="3933"/>
                  <a:pt x="351" y="3937"/>
                  <a:pt x="360" y="3934"/>
                </a:cubicBezTo>
                <a:cubicBezTo>
                  <a:pt x="366" y="3932"/>
                  <a:pt x="372" y="3924"/>
                  <a:pt x="370" y="3918"/>
                </a:cubicBezTo>
                <a:cubicBezTo>
                  <a:pt x="361" y="3895"/>
                  <a:pt x="377" y="3875"/>
                  <a:pt x="376" y="3849"/>
                </a:cubicBezTo>
                <a:cubicBezTo>
                  <a:pt x="389" y="3866"/>
                  <a:pt x="420" y="3866"/>
                  <a:pt x="406" y="3898"/>
                </a:cubicBezTo>
                <a:cubicBezTo>
                  <a:pt x="404" y="3904"/>
                  <a:pt x="413" y="3903"/>
                  <a:pt x="417" y="3902"/>
                </a:cubicBezTo>
                <a:cubicBezTo>
                  <a:pt x="435" y="3900"/>
                  <a:pt x="447" y="3903"/>
                  <a:pt x="446" y="3926"/>
                </a:cubicBezTo>
                <a:cubicBezTo>
                  <a:pt x="446" y="3942"/>
                  <a:pt x="455" y="3947"/>
                  <a:pt x="470" y="3939"/>
                </a:cubicBezTo>
                <a:cubicBezTo>
                  <a:pt x="488" y="3929"/>
                  <a:pt x="499" y="3932"/>
                  <a:pt x="498" y="3956"/>
                </a:cubicBezTo>
                <a:cubicBezTo>
                  <a:pt x="498" y="3971"/>
                  <a:pt x="503" y="3979"/>
                  <a:pt x="519" y="3974"/>
                </a:cubicBezTo>
                <a:cubicBezTo>
                  <a:pt x="524" y="3973"/>
                  <a:pt x="530" y="3974"/>
                  <a:pt x="532" y="3979"/>
                </a:cubicBezTo>
                <a:cubicBezTo>
                  <a:pt x="536" y="3985"/>
                  <a:pt x="529" y="3986"/>
                  <a:pt x="526" y="3989"/>
                </a:cubicBezTo>
                <a:close/>
                <a:moveTo>
                  <a:pt x="972" y="4700"/>
                </a:moveTo>
                <a:cubicBezTo>
                  <a:pt x="961" y="4700"/>
                  <a:pt x="949" y="4702"/>
                  <a:pt x="943" y="4688"/>
                </a:cubicBezTo>
                <a:cubicBezTo>
                  <a:pt x="938" y="4675"/>
                  <a:pt x="941" y="4666"/>
                  <a:pt x="951" y="4657"/>
                </a:cubicBezTo>
                <a:cubicBezTo>
                  <a:pt x="964" y="4646"/>
                  <a:pt x="966" y="4631"/>
                  <a:pt x="965" y="4613"/>
                </a:cubicBezTo>
                <a:cubicBezTo>
                  <a:pt x="968" y="4659"/>
                  <a:pt x="1000" y="4618"/>
                  <a:pt x="1013" y="4631"/>
                </a:cubicBezTo>
                <a:cubicBezTo>
                  <a:pt x="1027" y="4613"/>
                  <a:pt x="1042" y="4629"/>
                  <a:pt x="1059" y="4629"/>
                </a:cubicBezTo>
                <a:cubicBezTo>
                  <a:pt x="1034" y="4660"/>
                  <a:pt x="1022" y="4702"/>
                  <a:pt x="972" y="4700"/>
                </a:cubicBezTo>
                <a:close/>
                <a:moveTo>
                  <a:pt x="1759" y="4950"/>
                </a:moveTo>
                <a:cubicBezTo>
                  <a:pt x="1744" y="4954"/>
                  <a:pt x="1732" y="4960"/>
                  <a:pt x="1723" y="4973"/>
                </a:cubicBezTo>
                <a:cubicBezTo>
                  <a:pt x="1715" y="4984"/>
                  <a:pt x="1701" y="4997"/>
                  <a:pt x="1690" y="4986"/>
                </a:cubicBezTo>
                <a:cubicBezTo>
                  <a:pt x="1679" y="4976"/>
                  <a:pt x="1667" y="4959"/>
                  <a:pt x="1678" y="4940"/>
                </a:cubicBezTo>
                <a:cubicBezTo>
                  <a:pt x="1679" y="4937"/>
                  <a:pt x="1681" y="4935"/>
                  <a:pt x="1682" y="4932"/>
                </a:cubicBezTo>
                <a:cubicBezTo>
                  <a:pt x="1685" y="4925"/>
                  <a:pt x="1698" y="4920"/>
                  <a:pt x="1692" y="4910"/>
                </a:cubicBezTo>
                <a:cubicBezTo>
                  <a:pt x="1686" y="4901"/>
                  <a:pt x="1676" y="4905"/>
                  <a:pt x="1667" y="4906"/>
                </a:cubicBezTo>
                <a:cubicBezTo>
                  <a:pt x="1663" y="4906"/>
                  <a:pt x="1658" y="4906"/>
                  <a:pt x="1649" y="4906"/>
                </a:cubicBezTo>
                <a:cubicBezTo>
                  <a:pt x="1679" y="4895"/>
                  <a:pt x="1677" y="4893"/>
                  <a:pt x="1671" y="4859"/>
                </a:cubicBezTo>
                <a:cubicBezTo>
                  <a:pt x="1682" y="4866"/>
                  <a:pt x="1687" y="4873"/>
                  <a:pt x="1690" y="4884"/>
                </a:cubicBezTo>
                <a:cubicBezTo>
                  <a:pt x="1693" y="4897"/>
                  <a:pt x="1702" y="4909"/>
                  <a:pt x="1716" y="4912"/>
                </a:cubicBezTo>
                <a:cubicBezTo>
                  <a:pt x="1732" y="4917"/>
                  <a:pt x="1735" y="4900"/>
                  <a:pt x="1745" y="4893"/>
                </a:cubicBezTo>
                <a:cubicBezTo>
                  <a:pt x="1751" y="4888"/>
                  <a:pt x="1749" y="4873"/>
                  <a:pt x="1763" y="4876"/>
                </a:cubicBezTo>
                <a:cubicBezTo>
                  <a:pt x="1782" y="4880"/>
                  <a:pt x="1779" y="4891"/>
                  <a:pt x="1775" y="4904"/>
                </a:cubicBezTo>
                <a:cubicBezTo>
                  <a:pt x="1773" y="4908"/>
                  <a:pt x="1774" y="4914"/>
                  <a:pt x="1776" y="4918"/>
                </a:cubicBezTo>
                <a:cubicBezTo>
                  <a:pt x="1791" y="4940"/>
                  <a:pt x="1772" y="4946"/>
                  <a:pt x="1759" y="4950"/>
                </a:cubicBezTo>
                <a:close/>
                <a:moveTo>
                  <a:pt x="1828" y="4672"/>
                </a:moveTo>
                <a:cubicBezTo>
                  <a:pt x="1825" y="4684"/>
                  <a:pt x="1819" y="4675"/>
                  <a:pt x="1813" y="4674"/>
                </a:cubicBezTo>
                <a:cubicBezTo>
                  <a:pt x="1796" y="4672"/>
                  <a:pt x="1793" y="4688"/>
                  <a:pt x="1790" y="4698"/>
                </a:cubicBezTo>
                <a:cubicBezTo>
                  <a:pt x="1786" y="4715"/>
                  <a:pt x="1799" y="4708"/>
                  <a:pt x="1806" y="4707"/>
                </a:cubicBezTo>
                <a:cubicBezTo>
                  <a:pt x="1810" y="4707"/>
                  <a:pt x="1815" y="4706"/>
                  <a:pt x="1815" y="4711"/>
                </a:cubicBezTo>
                <a:cubicBezTo>
                  <a:pt x="1815" y="4717"/>
                  <a:pt x="1815" y="4724"/>
                  <a:pt x="1811" y="4728"/>
                </a:cubicBezTo>
                <a:cubicBezTo>
                  <a:pt x="1794" y="4745"/>
                  <a:pt x="1787" y="4752"/>
                  <a:pt x="1781" y="4773"/>
                </a:cubicBezTo>
                <a:cubicBezTo>
                  <a:pt x="1779" y="4781"/>
                  <a:pt x="1775" y="4780"/>
                  <a:pt x="1769" y="4779"/>
                </a:cubicBezTo>
                <a:cubicBezTo>
                  <a:pt x="1735" y="4775"/>
                  <a:pt x="1718" y="4752"/>
                  <a:pt x="1719" y="4711"/>
                </a:cubicBezTo>
                <a:cubicBezTo>
                  <a:pt x="1723" y="4718"/>
                  <a:pt x="1724" y="4727"/>
                  <a:pt x="1734" y="4725"/>
                </a:cubicBezTo>
                <a:cubicBezTo>
                  <a:pt x="1743" y="4722"/>
                  <a:pt x="1751" y="4716"/>
                  <a:pt x="1750" y="4706"/>
                </a:cubicBezTo>
                <a:cubicBezTo>
                  <a:pt x="1749" y="4693"/>
                  <a:pt x="1753" y="4681"/>
                  <a:pt x="1758" y="4670"/>
                </a:cubicBezTo>
                <a:cubicBezTo>
                  <a:pt x="1765" y="4656"/>
                  <a:pt x="1773" y="4643"/>
                  <a:pt x="1791" y="4657"/>
                </a:cubicBezTo>
                <a:cubicBezTo>
                  <a:pt x="1798" y="4662"/>
                  <a:pt x="1805" y="4664"/>
                  <a:pt x="1813" y="4657"/>
                </a:cubicBezTo>
                <a:cubicBezTo>
                  <a:pt x="1817" y="4653"/>
                  <a:pt x="1820" y="4643"/>
                  <a:pt x="1828" y="4653"/>
                </a:cubicBezTo>
                <a:cubicBezTo>
                  <a:pt x="1833" y="4659"/>
                  <a:pt x="1831" y="4666"/>
                  <a:pt x="1828" y="4672"/>
                </a:cubicBezTo>
                <a:close/>
                <a:moveTo>
                  <a:pt x="2112" y="449"/>
                </a:moveTo>
                <a:cubicBezTo>
                  <a:pt x="2114" y="442"/>
                  <a:pt x="2119" y="435"/>
                  <a:pt x="2112" y="430"/>
                </a:cubicBezTo>
                <a:cubicBezTo>
                  <a:pt x="2105" y="425"/>
                  <a:pt x="2096" y="427"/>
                  <a:pt x="2089" y="429"/>
                </a:cubicBezTo>
                <a:cubicBezTo>
                  <a:pt x="2083" y="430"/>
                  <a:pt x="2087" y="437"/>
                  <a:pt x="2087" y="442"/>
                </a:cubicBezTo>
                <a:cubicBezTo>
                  <a:pt x="2079" y="442"/>
                  <a:pt x="2056" y="424"/>
                  <a:pt x="2057" y="418"/>
                </a:cubicBezTo>
                <a:cubicBezTo>
                  <a:pt x="2058" y="411"/>
                  <a:pt x="2064" y="407"/>
                  <a:pt x="2068" y="405"/>
                </a:cubicBezTo>
                <a:cubicBezTo>
                  <a:pt x="2074" y="402"/>
                  <a:pt x="2081" y="400"/>
                  <a:pt x="2086" y="394"/>
                </a:cubicBezTo>
                <a:cubicBezTo>
                  <a:pt x="2092" y="388"/>
                  <a:pt x="2095" y="397"/>
                  <a:pt x="2095" y="400"/>
                </a:cubicBezTo>
                <a:cubicBezTo>
                  <a:pt x="2098" y="410"/>
                  <a:pt x="2105" y="415"/>
                  <a:pt x="2113" y="420"/>
                </a:cubicBezTo>
                <a:cubicBezTo>
                  <a:pt x="2123" y="425"/>
                  <a:pt x="2124" y="437"/>
                  <a:pt x="2125" y="446"/>
                </a:cubicBezTo>
                <a:cubicBezTo>
                  <a:pt x="2126" y="453"/>
                  <a:pt x="2117" y="448"/>
                  <a:pt x="2112" y="449"/>
                </a:cubicBezTo>
                <a:close/>
                <a:moveTo>
                  <a:pt x="3115" y="4892"/>
                </a:moveTo>
                <a:cubicBezTo>
                  <a:pt x="3115" y="4903"/>
                  <a:pt x="3111" y="4914"/>
                  <a:pt x="3102" y="4920"/>
                </a:cubicBezTo>
                <a:cubicBezTo>
                  <a:pt x="3082" y="4935"/>
                  <a:pt x="3077" y="4955"/>
                  <a:pt x="3078" y="4979"/>
                </a:cubicBezTo>
                <a:cubicBezTo>
                  <a:pt x="3079" y="4988"/>
                  <a:pt x="3077" y="4999"/>
                  <a:pt x="3074" y="5007"/>
                </a:cubicBezTo>
                <a:cubicBezTo>
                  <a:pt x="3062" y="5036"/>
                  <a:pt x="3051" y="5065"/>
                  <a:pt x="3047" y="5096"/>
                </a:cubicBezTo>
                <a:cubicBezTo>
                  <a:pt x="3044" y="5110"/>
                  <a:pt x="3038" y="5116"/>
                  <a:pt x="3027" y="5102"/>
                </a:cubicBezTo>
                <a:cubicBezTo>
                  <a:pt x="3004" y="5070"/>
                  <a:pt x="2968" y="5049"/>
                  <a:pt x="2946" y="5019"/>
                </a:cubicBezTo>
                <a:cubicBezTo>
                  <a:pt x="2930" y="4996"/>
                  <a:pt x="2911" y="4968"/>
                  <a:pt x="2911" y="4936"/>
                </a:cubicBezTo>
                <a:cubicBezTo>
                  <a:pt x="2911" y="4927"/>
                  <a:pt x="2911" y="4921"/>
                  <a:pt x="2924" y="4924"/>
                </a:cubicBezTo>
                <a:cubicBezTo>
                  <a:pt x="2935" y="4926"/>
                  <a:pt x="2947" y="4926"/>
                  <a:pt x="2958" y="4911"/>
                </a:cubicBezTo>
                <a:cubicBezTo>
                  <a:pt x="2918" y="4924"/>
                  <a:pt x="2909" y="4890"/>
                  <a:pt x="2892" y="4870"/>
                </a:cubicBezTo>
                <a:cubicBezTo>
                  <a:pt x="2884" y="4860"/>
                  <a:pt x="2876" y="4848"/>
                  <a:pt x="2897" y="4835"/>
                </a:cubicBezTo>
                <a:cubicBezTo>
                  <a:pt x="2910" y="4827"/>
                  <a:pt x="2924" y="4810"/>
                  <a:pt x="2929" y="4788"/>
                </a:cubicBezTo>
                <a:cubicBezTo>
                  <a:pt x="2934" y="4767"/>
                  <a:pt x="2934" y="4763"/>
                  <a:pt x="2913" y="4769"/>
                </a:cubicBezTo>
                <a:cubicBezTo>
                  <a:pt x="2910" y="4769"/>
                  <a:pt x="2907" y="4768"/>
                  <a:pt x="2905" y="4767"/>
                </a:cubicBezTo>
                <a:cubicBezTo>
                  <a:pt x="2912" y="4736"/>
                  <a:pt x="2870" y="4716"/>
                  <a:pt x="2888" y="4681"/>
                </a:cubicBezTo>
                <a:cubicBezTo>
                  <a:pt x="2896" y="4664"/>
                  <a:pt x="2897" y="4645"/>
                  <a:pt x="2917" y="4634"/>
                </a:cubicBezTo>
                <a:cubicBezTo>
                  <a:pt x="2931" y="4627"/>
                  <a:pt x="2940" y="4612"/>
                  <a:pt x="2945" y="4596"/>
                </a:cubicBezTo>
                <a:cubicBezTo>
                  <a:pt x="2952" y="4577"/>
                  <a:pt x="2962" y="4563"/>
                  <a:pt x="2986" y="4556"/>
                </a:cubicBezTo>
                <a:cubicBezTo>
                  <a:pt x="3000" y="4552"/>
                  <a:pt x="3010" y="4532"/>
                  <a:pt x="3021" y="4518"/>
                </a:cubicBezTo>
                <a:cubicBezTo>
                  <a:pt x="3031" y="4506"/>
                  <a:pt x="3044" y="4502"/>
                  <a:pt x="3060" y="4502"/>
                </a:cubicBezTo>
                <a:cubicBezTo>
                  <a:pt x="3070" y="4503"/>
                  <a:pt x="3082" y="4502"/>
                  <a:pt x="3071" y="4518"/>
                </a:cubicBezTo>
                <a:cubicBezTo>
                  <a:pt x="3070" y="4520"/>
                  <a:pt x="3072" y="4526"/>
                  <a:pt x="3073" y="4526"/>
                </a:cubicBezTo>
                <a:cubicBezTo>
                  <a:pt x="3116" y="4537"/>
                  <a:pt x="3094" y="4572"/>
                  <a:pt x="3097" y="4596"/>
                </a:cubicBezTo>
                <a:cubicBezTo>
                  <a:pt x="3099" y="4613"/>
                  <a:pt x="3106" y="4634"/>
                  <a:pt x="3080" y="4646"/>
                </a:cubicBezTo>
                <a:cubicBezTo>
                  <a:pt x="3068" y="4651"/>
                  <a:pt x="3076" y="4678"/>
                  <a:pt x="3088" y="4677"/>
                </a:cubicBezTo>
                <a:cubicBezTo>
                  <a:pt x="3119" y="4675"/>
                  <a:pt x="3118" y="4699"/>
                  <a:pt x="3120" y="4715"/>
                </a:cubicBezTo>
                <a:cubicBezTo>
                  <a:pt x="3126" y="4774"/>
                  <a:pt x="3116" y="4833"/>
                  <a:pt x="3115" y="4892"/>
                </a:cubicBezTo>
                <a:close/>
                <a:moveTo>
                  <a:pt x="3811" y="4784"/>
                </a:moveTo>
                <a:cubicBezTo>
                  <a:pt x="3809" y="4793"/>
                  <a:pt x="3796" y="4791"/>
                  <a:pt x="3789" y="4795"/>
                </a:cubicBezTo>
                <a:cubicBezTo>
                  <a:pt x="3786" y="4797"/>
                  <a:pt x="3782" y="4797"/>
                  <a:pt x="3777" y="4798"/>
                </a:cubicBezTo>
                <a:cubicBezTo>
                  <a:pt x="3771" y="4785"/>
                  <a:pt x="3784" y="4779"/>
                  <a:pt x="3782" y="4768"/>
                </a:cubicBezTo>
                <a:cubicBezTo>
                  <a:pt x="3780" y="4768"/>
                  <a:pt x="3779" y="4766"/>
                  <a:pt x="3777" y="4766"/>
                </a:cubicBezTo>
                <a:cubicBezTo>
                  <a:pt x="3767" y="4765"/>
                  <a:pt x="3757" y="4791"/>
                  <a:pt x="3747" y="4770"/>
                </a:cubicBezTo>
                <a:cubicBezTo>
                  <a:pt x="3739" y="4754"/>
                  <a:pt x="3744" y="4734"/>
                  <a:pt x="3757" y="4722"/>
                </a:cubicBezTo>
                <a:cubicBezTo>
                  <a:pt x="3768" y="4711"/>
                  <a:pt x="3781" y="4722"/>
                  <a:pt x="3787" y="4732"/>
                </a:cubicBezTo>
                <a:cubicBezTo>
                  <a:pt x="3792" y="4739"/>
                  <a:pt x="3818" y="4748"/>
                  <a:pt x="3791" y="4761"/>
                </a:cubicBezTo>
                <a:cubicBezTo>
                  <a:pt x="3788" y="4762"/>
                  <a:pt x="3790" y="4768"/>
                  <a:pt x="3794" y="4769"/>
                </a:cubicBezTo>
                <a:cubicBezTo>
                  <a:pt x="3802" y="4773"/>
                  <a:pt x="3815" y="4772"/>
                  <a:pt x="3811" y="4784"/>
                </a:cubicBezTo>
                <a:close/>
                <a:moveTo>
                  <a:pt x="3834" y="790"/>
                </a:moveTo>
                <a:cubicBezTo>
                  <a:pt x="3828" y="791"/>
                  <a:pt x="3824" y="791"/>
                  <a:pt x="3826" y="783"/>
                </a:cubicBezTo>
                <a:cubicBezTo>
                  <a:pt x="3827" y="780"/>
                  <a:pt x="3823" y="779"/>
                  <a:pt x="3821" y="777"/>
                </a:cubicBezTo>
                <a:cubicBezTo>
                  <a:pt x="3815" y="774"/>
                  <a:pt x="3805" y="775"/>
                  <a:pt x="3805" y="764"/>
                </a:cubicBezTo>
                <a:cubicBezTo>
                  <a:pt x="3805" y="763"/>
                  <a:pt x="3803" y="763"/>
                  <a:pt x="3802" y="762"/>
                </a:cubicBezTo>
                <a:cubicBezTo>
                  <a:pt x="3787" y="772"/>
                  <a:pt x="3790" y="757"/>
                  <a:pt x="3786" y="751"/>
                </a:cubicBezTo>
                <a:cubicBezTo>
                  <a:pt x="3783" y="745"/>
                  <a:pt x="3782" y="739"/>
                  <a:pt x="3775" y="735"/>
                </a:cubicBezTo>
                <a:cubicBezTo>
                  <a:pt x="3772" y="734"/>
                  <a:pt x="3769" y="733"/>
                  <a:pt x="3772" y="728"/>
                </a:cubicBezTo>
                <a:cubicBezTo>
                  <a:pt x="3775" y="725"/>
                  <a:pt x="3779" y="725"/>
                  <a:pt x="3781" y="727"/>
                </a:cubicBezTo>
                <a:cubicBezTo>
                  <a:pt x="3791" y="740"/>
                  <a:pt x="3808" y="744"/>
                  <a:pt x="3818" y="758"/>
                </a:cubicBezTo>
                <a:cubicBezTo>
                  <a:pt x="3823" y="765"/>
                  <a:pt x="3834" y="769"/>
                  <a:pt x="3837" y="779"/>
                </a:cubicBezTo>
                <a:cubicBezTo>
                  <a:pt x="3838" y="783"/>
                  <a:pt x="3842" y="789"/>
                  <a:pt x="3834" y="790"/>
                </a:cubicBezTo>
                <a:close/>
                <a:moveTo>
                  <a:pt x="3850" y="771"/>
                </a:moveTo>
                <a:cubicBezTo>
                  <a:pt x="3844" y="774"/>
                  <a:pt x="3844" y="765"/>
                  <a:pt x="3844" y="760"/>
                </a:cubicBezTo>
                <a:cubicBezTo>
                  <a:pt x="3848" y="735"/>
                  <a:pt x="3847" y="734"/>
                  <a:pt x="3822" y="738"/>
                </a:cubicBezTo>
                <a:cubicBezTo>
                  <a:pt x="3820" y="738"/>
                  <a:pt x="3818" y="739"/>
                  <a:pt x="3816" y="739"/>
                </a:cubicBezTo>
                <a:cubicBezTo>
                  <a:pt x="3806" y="739"/>
                  <a:pt x="3799" y="736"/>
                  <a:pt x="3796" y="726"/>
                </a:cubicBezTo>
                <a:cubicBezTo>
                  <a:pt x="3793" y="719"/>
                  <a:pt x="3798" y="714"/>
                  <a:pt x="3804" y="714"/>
                </a:cubicBezTo>
                <a:cubicBezTo>
                  <a:pt x="3813" y="713"/>
                  <a:pt x="3824" y="703"/>
                  <a:pt x="3828" y="720"/>
                </a:cubicBezTo>
                <a:cubicBezTo>
                  <a:pt x="3829" y="725"/>
                  <a:pt x="3833" y="731"/>
                  <a:pt x="3838" y="722"/>
                </a:cubicBezTo>
                <a:cubicBezTo>
                  <a:pt x="3842" y="715"/>
                  <a:pt x="3862" y="720"/>
                  <a:pt x="3862" y="727"/>
                </a:cubicBezTo>
                <a:cubicBezTo>
                  <a:pt x="3861" y="745"/>
                  <a:pt x="3875" y="753"/>
                  <a:pt x="3885" y="764"/>
                </a:cubicBezTo>
                <a:cubicBezTo>
                  <a:pt x="3873" y="769"/>
                  <a:pt x="3861" y="763"/>
                  <a:pt x="3850" y="771"/>
                </a:cubicBezTo>
                <a:close/>
                <a:moveTo>
                  <a:pt x="3967" y="717"/>
                </a:moveTo>
                <a:cubicBezTo>
                  <a:pt x="3964" y="734"/>
                  <a:pt x="3950" y="742"/>
                  <a:pt x="3937" y="751"/>
                </a:cubicBezTo>
                <a:cubicBezTo>
                  <a:pt x="3930" y="755"/>
                  <a:pt x="3928" y="746"/>
                  <a:pt x="3925" y="742"/>
                </a:cubicBezTo>
                <a:cubicBezTo>
                  <a:pt x="3923" y="739"/>
                  <a:pt x="3928" y="732"/>
                  <a:pt x="3920" y="733"/>
                </a:cubicBezTo>
                <a:cubicBezTo>
                  <a:pt x="3914" y="733"/>
                  <a:pt x="3909" y="734"/>
                  <a:pt x="3906" y="741"/>
                </a:cubicBezTo>
                <a:cubicBezTo>
                  <a:pt x="3906" y="743"/>
                  <a:pt x="3904" y="745"/>
                  <a:pt x="3903" y="747"/>
                </a:cubicBezTo>
                <a:cubicBezTo>
                  <a:pt x="3902" y="738"/>
                  <a:pt x="3898" y="727"/>
                  <a:pt x="3901" y="722"/>
                </a:cubicBezTo>
                <a:cubicBezTo>
                  <a:pt x="3904" y="715"/>
                  <a:pt x="3895" y="706"/>
                  <a:pt x="3905" y="701"/>
                </a:cubicBezTo>
                <a:cubicBezTo>
                  <a:pt x="3907" y="700"/>
                  <a:pt x="3903" y="696"/>
                  <a:pt x="3898" y="696"/>
                </a:cubicBezTo>
                <a:cubicBezTo>
                  <a:pt x="3892" y="696"/>
                  <a:pt x="3882" y="678"/>
                  <a:pt x="3884" y="672"/>
                </a:cubicBezTo>
                <a:cubicBezTo>
                  <a:pt x="3885" y="671"/>
                  <a:pt x="3886" y="670"/>
                  <a:pt x="3887" y="670"/>
                </a:cubicBezTo>
                <a:cubicBezTo>
                  <a:pt x="3898" y="674"/>
                  <a:pt x="3894" y="665"/>
                  <a:pt x="3895" y="661"/>
                </a:cubicBezTo>
                <a:cubicBezTo>
                  <a:pt x="3897" y="654"/>
                  <a:pt x="3894" y="643"/>
                  <a:pt x="3906" y="643"/>
                </a:cubicBezTo>
                <a:cubicBezTo>
                  <a:pt x="3919" y="644"/>
                  <a:pt x="3927" y="655"/>
                  <a:pt x="3926" y="666"/>
                </a:cubicBezTo>
                <a:cubicBezTo>
                  <a:pt x="3925" y="674"/>
                  <a:pt x="3927" y="681"/>
                  <a:pt x="3939" y="678"/>
                </a:cubicBezTo>
                <a:cubicBezTo>
                  <a:pt x="3947" y="676"/>
                  <a:pt x="3951" y="678"/>
                  <a:pt x="3949" y="688"/>
                </a:cubicBezTo>
                <a:cubicBezTo>
                  <a:pt x="3948" y="696"/>
                  <a:pt x="3955" y="700"/>
                  <a:pt x="3960" y="701"/>
                </a:cubicBezTo>
                <a:cubicBezTo>
                  <a:pt x="3968" y="704"/>
                  <a:pt x="3969" y="711"/>
                  <a:pt x="3967" y="717"/>
                </a:cubicBezTo>
                <a:close/>
                <a:moveTo>
                  <a:pt x="4158" y="4190"/>
                </a:moveTo>
                <a:cubicBezTo>
                  <a:pt x="4149" y="4200"/>
                  <a:pt x="4138" y="4208"/>
                  <a:pt x="4127" y="4215"/>
                </a:cubicBezTo>
                <a:cubicBezTo>
                  <a:pt x="4116" y="4221"/>
                  <a:pt x="4099" y="4220"/>
                  <a:pt x="4111" y="4241"/>
                </a:cubicBezTo>
                <a:cubicBezTo>
                  <a:pt x="4114" y="4245"/>
                  <a:pt x="4104" y="4257"/>
                  <a:pt x="4096" y="4248"/>
                </a:cubicBezTo>
                <a:cubicBezTo>
                  <a:pt x="4086" y="4235"/>
                  <a:pt x="4072" y="4237"/>
                  <a:pt x="4057" y="4231"/>
                </a:cubicBezTo>
                <a:cubicBezTo>
                  <a:pt x="4063" y="4227"/>
                  <a:pt x="4065" y="4214"/>
                  <a:pt x="4073" y="4223"/>
                </a:cubicBezTo>
                <a:cubicBezTo>
                  <a:pt x="4088" y="4240"/>
                  <a:pt x="4089" y="4224"/>
                  <a:pt x="4094" y="4217"/>
                </a:cubicBezTo>
                <a:cubicBezTo>
                  <a:pt x="4100" y="4205"/>
                  <a:pt x="4101" y="4196"/>
                  <a:pt x="4084" y="4194"/>
                </a:cubicBezTo>
                <a:cubicBezTo>
                  <a:pt x="4075" y="4193"/>
                  <a:pt x="4074" y="4184"/>
                  <a:pt x="4075" y="4179"/>
                </a:cubicBezTo>
                <a:cubicBezTo>
                  <a:pt x="4075" y="4170"/>
                  <a:pt x="4086" y="4169"/>
                  <a:pt x="4091" y="4170"/>
                </a:cubicBezTo>
                <a:cubicBezTo>
                  <a:pt x="4115" y="4175"/>
                  <a:pt x="4130" y="4167"/>
                  <a:pt x="4128" y="4146"/>
                </a:cubicBezTo>
                <a:cubicBezTo>
                  <a:pt x="4127" y="4125"/>
                  <a:pt x="4138" y="4133"/>
                  <a:pt x="4145" y="4137"/>
                </a:cubicBezTo>
                <a:cubicBezTo>
                  <a:pt x="4162" y="4144"/>
                  <a:pt x="4170" y="4176"/>
                  <a:pt x="4158" y="4190"/>
                </a:cubicBezTo>
                <a:close/>
                <a:moveTo>
                  <a:pt x="4429" y="4308"/>
                </a:moveTo>
                <a:cubicBezTo>
                  <a:pt x="4428" y="4312"/>
                  <a:pt x="4382" y="4281"/>
                  <a:pt x="4381" y="4274"/>
                </a:cubicBezTo>
                <a:cubicBezTo>
                  <a:pt x="4381" y="4272"/>
                  <a:pt x="4382" y="4268"/>
                  <a:pt x="4383" y="4267"/>
                </a:cubicBezTo>
                <a:cubicBezTo>
                  <a:pt x="4388" y="4265"/>
                  <a:pt x="4392" y="4265"/>
                  <a:pt x="4395" y="4271"/>
                </a:cubicBezTo>
                <a:cubicBezTo>
                  <a:pt x="4402" y="4292"/>
                  <a:pt x="4410" y="4279"/>
                  <a:pt x="4415" y="4270"/>
                </a:cubicBezTo>
                <a:cubicBezTo>
                  <a:pt x="4419" y="4263"/>
                  <a:pt x="4420" y="4256"/>
                  <a:pt x="4431" y="4258"/>
                </a:cubicBezTo>
                <a:cubicBezTo>
                  <a:pt x="4434" y="4258"/>
                  <a:pt x="4440" y="4255"/>
                  <a:pt x="4440" y="4252"/>
                </a:cubicBezTo>
                <a:cubicBezTo>
                  <a:pt x="4443" y="4239"/>
                  <a:pt x="4426" y="4227"/>
                  <a:pt x="4441" y="4209"/>
                </a:cubicBezTo>
                <a:cubicBezTo>
                  <a:pt x="4448" y="4202"/>
                  <a:pt x="4424" y="4189"/>
                  <a:pt x="4410" y="4183"/>
                </a:cubicBezTo>
                <a:cubicBezTo>
                  <a:pt x="4429" y="4163"/>
                  <a:pt x="4446" y="4182"/>
                  <a:pt x="4464" y="4182"/>
                </a:cubicBezTo>
                <a:cubicBezTo>
                  <a:pt x="4472" y="4183"/>
                  <a:pt x="4468" y="4193"/>
                  <a:pt x="4467" y="4200"/>
                </a:cubicBezTo>
                <a:cubicBezTo>
                  <a:pt x="4464" y="4234"/>
                  <a:pt x="4456" y="4270"/>
                  <a:pt x="4491" y="4293"/>
                </a:cubicBezTo>
                <a:cubicBezTo>
                  <a:pt x="4470" y="4305"/>
                  <a:pt x="4444" y="4274"/>
                  <a:pt x="4429" y="4308"/>
                </a:cubicBezTo>
                <a:close/>
                <a:moveTo>
                  <a:pt x="4761" y="4229"/>
                </a:moveTo>
                <a:cubicBezTo>
                  <a:pt x="4760" y="4246"/>
                  <a:pt x="4754" y="4253"/>
                  <a:pt x="4737" y="4245"/>
                </a:cubicBezTo>
                <a:cubicBezTo>
                  <a:pt x="4727" y="4240"/>
                  <a:pt x="4715" y="4238"/>
                  <a:pt x="4706" y="4229"/>
                </a:cubicBezTo>
                <a:cubicBezTo>
                  <a:pt x="4700" y="4223"/>
                  <a:pt x="4691" y="4217"/>
                  <a:pt x="4682" y="4224"/>
                </a:cubicBezTo>
                <a:cubicBezTo>
                  <a:pt x="4704" y="4204"/>
                  <a:pt x="4704" y="4190"/>
                  <a:pt x="4681" y="4164"/>
                </a:cubicBezTo>
                <a:cubicBezTo>
                  <a:pt x="4673" y="4156"/>
                  <a:pt x="4670" y="4144"/>
                  <a:pt x="4675" y="4139"/>
                </a:cubicBezTo>
                <a:cubicBezTo>
                  <a:pt x="4680" y="4132"/>
                  <a:pt x="4694" y="4135"/>
                  <a:pt x="4700" y="4143"/>
                </a:cubicBezTo>
                <a:cubicBezTo>
                  <a:pt x="4715" y="4163"/>
                  <a:pt x="4738" y="4176"/>
                  <a:pt x="4752" y="4197"/>
                </a:cubicBezTo>
                <a:cubicBezTo>
                  <a:pt x="4760" y="4208"/>
                  <a:pt x="4762" y="4217"/>
                  <a:pt x="4761" y="4229"/>
                </a:cubicBezTo>
                <a:close/>
                <a:moveTo>
                  <a:pt x="5280" y="4206"/>
                </a:moveTo>
                <a:cubicBezTo>
                  <a:pt x="5280" y="4206"/>
                  <a:pt x="5278" y="4212"/>
                  <a:pt x="5274" y="4213"/>
                </a:cubicBezTo>
                <a:cubicBezTo>
                  <a:pt x="5253" y="4222"/>
                  <a:pt x="5245" y="4242"/>
                  <a:pt x="5232" y="4258"/>
                </a:cubicBezTo>
                <a:cubicBezTo>
                  <a:pt x="5228" y="4263"/>
                  <a:pt x="5220" y="4274"/>
                  <a:pt x="5219" y="4270"/>
                </a:cubicBezTo>
                <a:cubicBezTo>
                  <a:pt x="5214" y="4257"/>
                  <a:pt x="5197" y="4258"/>
                  <a:pt x="5194" y="4246"/>
                </a:cubicBezTo>
                <a:cubicBezTo>
                  <a:pt x="5192" y="4238"/>
                  <a:pt x="5192" y="4229"/>
                  <a:pt x="5201" y="4226"/>
                </a:cubicBezTo>
                <a:cubicBezTo>
                  <a:pt x="5222" y="4219"/>
                  <a:pt x="5235" y="4204"/>
                  <a:pt x="5247" y="4187"/>
                </a:cubicBezTo>
                <a:cubicBezTo>
                  <a:pt x="5254" y="4177"/>
                  <a:pt x="5262" y="4184"/>
                  <a:pt x="5269" y="4189"/>
                </a:cubicBezTo>
                <a:cubicBezTo>
                  <a:pt x="5275" y="4192"/>
                  <a:pt x="5284" y="4191"/>
                  <a:pt x="5280" y="4206"/>
                </a:cubicBezTo>
                <a:close/>
                <a:moveTo>
                  <a:pt x="5453" y="4278"/>
                </a:moveTo>
                <a:cubicBezTo>
                  <a:pt x="5461" y="4277"/>
                  <a:pt x="5455" y="4290"/>
                  <a:pt x="5448" y="4294"/>
                </a:cubicBezTo>
                <a:cubicBezTo>
                  <a:pt x="5422" y="4306"/>
                  <a:pt x="5427" y="4319"/>
                  <a:pt x="5454" y="4334"/>
                </a:cubicBezTo>
                <a:cubicBezTo>
                  <a:pt x="5433" y="4334"/>
                  <a:pt x="5417" y="4331"/>
                  <a:pt x="5407" y="4346"/>
                </a:cubicBezTo>
                <a:cubicBezTo>
                  <a:pt x="5405" y="4349"/>
                  <a:pt x="5401" y="4350"/>
                  <a:pt x="5397" y="4347"/>
                </a:cubicBezTo>
                <a:cubicBezTo>
                  <a:pt x="5381" y="4336"/>
                  <a:pt x="5365" y="4326"/>
                  <a:pt x="5371" y="4360"/>
                </a:cubicBezTo>
                <a:cubicBezTo>
                  <a:pt x="5372" y="4362"/>
                  <a:pt x="5371" y="4367"/>
                  <a:pt x="5370" y="4363"/>
                </a:cubicBezTo>
                <a:cubicBezTo>
                  <a:pt x="5368" y="4348"/>
                  <a:pt x="5347" y="4367"/>
                  <a:pt x="5348" y="4349"/>
                </a:cubicBezTo>
                <a:cubicBezTo>
                  <a:pt x="5349" y="4328"/>
                  <a:pt x="5323" y="4301"/>
                  <a:pt x="5305" y="4305"/>
                </a:cubicBezTo>
                <a:cubicBezTo>
                  <a:pt x="5290" y="4307"/>
                  <a:pt x="5289" y="4300"/>
                  <a:pt x="5285" y="4290"/>
                </a:cubicBezTo>
                <a:cubicBezTo>
                  <a:pt x="5277" y="4271"/>
                  <a:pt x="5288" y="4252"/>
                  <a:pt x="5288" y="4233"/>
                </a:cubicBezTo>
                <a:cubicBezTo>
                  <a:pt x="5288" y="4227"/>
                  <a:pt x="5296" y="4223"/>
                  <a:pt x="5301" y="4224"/>
                </a:cubicBezTo>
                <a:cubicBezTo>
                  <a:pt x="5321" y="4229"/>
                  <a:pt x="5350" y="4231"/>
                  <a:pt x="5358" y="4240"/>
                </a:cubicBezTo>
                <a:cubicBezTo>
                  <a:pt x="5373" y="4257"/>
                  <a:pt x="5388" y="4252"/>
                  <a:pt x="5409" y="4255"/>
                </a:cubicBezTo>
                <a:cubicBezTo>
                  <a:pt x="5396" y="4267"/>
                  <a:pt x="5379" y="4272"/>
                  <a:pt x="5391" y="4287"/>
                </a:cubicBezTo>
                <a:cubicBezTo>
                  <a:pt x="5399" y="4297"/>
                  <a:pt x="5410" y="4292"/>
                  <a:pt x="5416" y="4280"/>
                </a:cubicBezTo>
                <a:cubicBezTo>
                  <a:pt x="5429" y="4286"/>
                  <a:pt x="5440" y="4279"/>
                  <a:pt x="5453" y="4278"/>
                </a:cubicBezTo>
                <a:close/>
                <a:moveTo>
                  <a:pt x="2303" y="5313"/>
                </a:moveTo>
                <a:cubicBezTo>
                  <a:pt x="2292" y="5306"/>
                  <a:pt x="2280" y="5304"/>
                  <a:pt x="2268" y="5299"/>
                </a:cubicBezTo>
                <a:cubicBezTo>
                  <a:pt x="2254" y="5293"/>
                  <a:pt x="2246" y="5274"/>
                  <a:pt x="2229" y="5277"/>
                </a:cubicBezTo>
                <a:cubicBezTo>
                  <a:pt x="2206" y="5281"/>
                  <a:pt x="2216" y="5304"/>
                  <a:pt x="2209" y="5317"/>
                </a:cubicBezTo>
                <a:cubicBezTo>
                  <a:pt x="2197" y="5341"/>
                  <a:pt x="2220" y="5373"/>
                  <a:pt x="2248" y="5372"/>
                </a:cubicBezTo>
                <a:cubicBezTo>
                  <a:pt x="2262" y="5372"/>
                  <a:pt x="2281" y="5374"/>
                  <a:pt x="2276" y="5353"/>
                </a:cubicBezTo>
                <a:cubicBezTo>
                  <a:pt x="2270" y="5328"/>
                  <a:pt x="2287" y="5336"/>
                  <a:pt x="2298" y="5334"/>
                </a:cubicBezTo>
                <a:cubicBezTo>
                  <a:pt x="2304" y="5334"/>
                  <a:pt x="2311" y="5343"/>
                  <a:pt x="2315" y="5333"/>
                </a:cubicBezTo>
                <a:cubicBezTo>
                  <a:pt x="2319" y="5323"/>
                  <a:pt x="2311" y="5317"/>
                  <a:pt x="2303" y="531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Freeform 7">
            <a:extLst>
              <a:ext uri="{FF2B5EF4-FFF2-40B4-BE49-F238E27FC236}">
                <a16:creationId xmlns:a16="http://schemas.microsoft.com/office/drawing/2014/main" id="{0F667950-94B4-4AC9-8DC4-336ECBAB20D1}"/>
              </a:ext>
            </a:extLst>
          </p:cNvPr>
          <p:cNvSpPr>
            <a:spLocks noEditPoints="1"/>
          </p:cNvSpPr>
          <p:nvPr/>
        </p:nvSpPr>
        <p:spPr bwMode="auto">
          <a:xfrm>
            <a:off x="3629417" y="3412585"/>
            <a:ext cx="2432411" cy="2820264"/>
          </a:xfrm>
          <a:custGeom>
            <a:avLst/>
            <a:gdLst>
              <a:gd name="T0" fmla="*/ 1376 w 2745"/>
              <a:gd name="T1" fmla="*/ 85 h 3182"/>
              <a:gd name="T2" fmla="*/ 694 w 2745"/>
              <a:gd name="T3" fmla="*/ 2036 h 3182"/>
              <a:gd name="T4" fmla="*/ 2696 w 2745"/>
              <a:gd name="T5" fmla="*/ 1450 h 3182"/>
              <a:gd name="T6" fmla="*/ 2669 w 2745"/>
              <a:gd name="T7" fmla="*/ 1242 h 3182"/>
              <a:gd name="T8" fmla="*/ 2663 w 2745"/>
              <a:gd name="T9" fmla="*/ 1110 h 3182"/>
              <a:gd name="T10" fmla="*/ 2661 w 2745"/>
              <a:gd name="T11" fmla="*/ 923 h 3182"/>
              <a:gd name="T12" fmla="*/ 2481 w 2745"/>
              <a:gd name="T13" fmla="*/ 863 h 3182"/>
              <a:gd name="T14" fmla="*/ 2457 w 2745"/>
              <a:gd name="T15" fmla="*/ 644 h 3182"/>
              <a:gd name="T16" fmla="*/ 2374 w 2745"/>
              <a:gd name="T17" fmla="*/ 507 h 3182"/>
              <a:gd name="T18" fmla="*/ 2263 w 2745"/>
              <a:gd name="T19" fmla="*/ 368 h 3182"/>
              <a:gd name="T20" fmla="*/ 2162 w 2745"/>
              <a:gd name="T21" fmla="*/ 459 h 3182"/>
              <a:gd name="T22" fmla="*/ 2064 w 2745"/>
              <a:gd name="T23" fmla="*/ 421 h 3182"/>
              <a:gd name="T24" fmla="*/ 1932 w 2745"/>
              <a:gd name="T25" fmla="*/ 290 h 3182"/>
              <a:gd name="T26" fmla="*/ 1801 w 2745"/>
              <a:gd name="T27" fmla="*/ 122 h 3182"/>
              <a:gd name="T28" fmla="*/ 1579 w 2745"/>
              <a:gd name="T29" fmla="*/ 62 h 3182"/>
              <a:gd name="T30" fmla="*/ 1437 w 2745"/>
              <a:gd name="T31" fmla="*/ 181 h 3182"/>
              <a:gd name="T32" fmla="*/ 1315 w 2745"/>
              <a:gd name="T33" fmla="*/ 231 h 3182"/>
              <a:gd name="T34" fmla="*/ 1172 w 2745"/>
              <a:gd name="T35" fmla="*/ 113 h 3182"/>
              <a:gd name="T36" fmla="*/ 1002 w 2745"/>
              <a:gd name="T37" fmla="*/ 57 h 3182"/>
              <a:gd name="T38" fmla="*/ 823 w 2745"/>
              <a:gd name="T39" fmla="*/ 180 h 3182"/>
              <a:gd name="T40" fmla="*/ 723 w 2745"/>
              <a:gd name="T41" fmla="*/ 157 h 3182"/>
              <a:gd name="T42" fmla="*/ 578 w 2745"/>
              <a:gd name="T43" fmla="*/ 384 h 3182"/>
              <a:gd name="T44" fmla="*/ 679 w 2745"/>
              <a:gd name="T45" fmla="*/ 613 h 3182"/>
              <a:gd name="T46" fmla="*/ 514 w 2745"/>
              <a:gd name="T47" fmla="*/ 538 h 3182"/>
              <a:gd name="T48" fmla="*/ 402 w 2745"/>
              <a:gd name="T49" fmla="*/ 546 h 3182"/>
              <a:gd name="T50" fmla="*/ 377 w 2745"/>
              <a:gd name="T51" fmla="*/ 667 h 3182"/>
              <a:gd name="T52" fmla="*/ 354 w 2745"/>
              <a:gd name="T53" fmla="*/ 792 h 3182"/>
              <a:gd name="T54" fmla="*/ 293 w 2745"/>
              <a:gd name="T55" fmla="*/ 796 h 3182"/>
              <a:gd name="T56" fmla="*/ 177 w 2745"/>
              <a:gd name="T57" fmla="*/ 734 h 3182"/>
              <a:gd name="T58" fmla="*/ 104 w 2745"/>
              <a:gd name="T59" fmla="*/ 770 h 3182"/>
              <a:gd name="T60" fmla="*/ 164 w 2745"/>
              <a:gd name="T61" fmla="*/ 968 h 3182"/>
              <a:gd name="T62" fmla="*/ 197 w 2745"/>
              <a:gd name="T63" fmla="*/ 1199 h 3182"/>
              <a:gd name="T64" fmla="*/ 273 w 2745"/>
              <a:gd name="T65" fmla="*/ 1288 h 3182"/>
              <a:gd name="T66" fmla="*/ 154 w 2745"/>
              <a:gd name="T67" fmla="*/ 1443 h 3182"/>
              <a:gd name="T68" fmla="*/ 47 w 2745"/>
              <a:gd name="T69" fmla="*/ 1639 h 3182"/>
              <a:gd name="T70" fmla="*/ 252 w 2745"/>
              <a:gd name="T71" fmla="*/ 1656 h 3182"/>
              <a:gd name="T72" fmla="*/ 543 w 2745"/>
              <a:gd name="T73" fmla="*/ 1633 h 3182"/>
              <a:gd name="T74" fmla="*/ 552 w 2745"/>
              <a:gd name="T75" fmla="*/ 1803 h 3182"/>
              <a:gd name="T76" fmla="*/ 775 w 2745"/>
              <a:gd name="T77" fmla="*/ 1849 h 3182"/>
              <a:gd name="T78" fmla="*/ 884 w 2745"/>
              <a:gd name="T79" fmla="*/ 1933 h 3182"/>
              <a:gd name="T80" fmla="*/ 1104 w 2745"/>
              <a:gd name="T81" fmla="*/ 2165 h 3182"/>
              <a:gd name="T82" fmla="*/ 1447 w 2745"/>
              <a:gd name="T83" fmla="*/ 2573 h 3182"/>
              <a:gd name="T84" fmla="*/ 1633 w 2745"/>
              <a:gd name="T85" fmla="*/ 2027 h 3182"/>
              <a:gd name="T86" fmla="*/ 1842 w 2745"/>
              <a:gd name="T87" fmla="*/ 2029 h 3182"/>
              <a:gd name="T88" fmla="*/ 2003 w 2745"/>
              <a:gd name="T89" fmla="*/ 1981 h 3182"/>
              <a:gd name="T90" fmla="*/ 2217 w 2745"/>
              <a:gd name="T91" fmla="*/ 1945 h 3182"/>
              <a:gd name="T92" fmla="*/ 2312 w 2745"/>
              <a:gd name="T93" fmla="*/ 1893 h 3182"/>
              <a:gd name="T94" fmla="*/ 2441 w 2745"/>
              <a:gd name="T95" fmla="*/ 1758 h 3182"/>
              <a:gd name="T96" fmla="*/ 2670 w 2745"/>
              <a:gd name="T97" fmla="*/ 1653 h 3182"/>
              <a:gd name="T98" fmla="*/ 672 w 2745"/>
              <a:gd name="T99" fmla="*/ 474 h 3182"/>
              <a:gd name="T100" fmla="*/ 673 w 2745"/>
              <a:gd name="T101" fmla="*/ 285 h 3182"/>
              <a:gd name="T102" fmla="*/ 934 w 2745"/>
              <a:gd name="T103" fmla="*/ 146 h 3182"/>
              <a:gd name="T104" fmla="*/ 938 w 2745"/>
              <a:gd name="T105" fmla="*/ 1757 h 3182"/>
              <a:gd name="T106" fmla="*/ 1031 w 2745"/>
              <a:gd name="T107" fmla="*/ 1972 h 3182"/>
              <a:gd name="T108" fmla="*/ 1091 w 2745"/>
              <a:gd name="T109" fmla="*/ 1937 h 3182"/>
              <a:gd name="T110" fmla="*/ 1303 w 2745"/>
              <a:gd name="T111" fmla="*/ 2431 h 3182"/>
              <a:gd name="T112" fmla="*/ 1290 w 2745"/>
              <a:gd name="T113" fmla="*/ 1949 h 3182"/>
              <a:gd name="T114" fmla="*/ 1452 w 2745"/>
              <a:gd name="T115" fmla="*/ 2138 h 3182"/>
              <a:gd name="T116" fmla="*/ 1564 w 2745"/>
              <a:gd name="T117" fmla="*/ 1949 h 3182"/>
              <a:gd name="T118" fmla="*/ 1793 w 2745"/>
              <a:gd name="T119" fmla="*/ 227 h 3182"/>
              <a:gd name="T120" fmla="*/ 2050 w 2745"/>
              <a:gd name="T121" fmla="*/ 1900 h 3182"/>
              <a:gd name="T122" fmla="*/ 2594 w 2745"/>
              <a:gd name="T123" fmla="*/ 1381 h 3182"/>
              <a:gd name="T124" fmla="*/ 823 w 2745"/>
              <a:gd name="T125" fmla="*/ 1969 h 3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745" h="3182">
                <a:moveTo>
                  <a:pt x="789" y="1987"/>
                </a:moveTo>
                <a:cubicBezTo>
                  <a:pt x="772" y="1982"/>
                  <a:pt x="770" y="1974"/>
                  <a:pt x="784" y="1964"/>
                </a:cubicBezTo>
                <a:cubicBezTo>
                  <a:pt x="785" y="1963"/>
                  <a:pt x="785" y="1962"/>
                  <a:pt x="786" y="1960"/>
                </a:cubicBezTo>
                <a:cubicBezTo>
                  <a:pt x="780" y="1957"/>
                  <a:pt x="784" y="1945"/>
                  <a:pt x="773" y="1946"/>
                </a:cubicBezTo>
                <a:cubicBezTo>
                  <a:pt x="764" y="1947"/>
                  <a:pt x="754" y="1947"/>
                  <a:pt x="745" y="1946"/>
                </a:cubicBezTo>
                <a:cubicBezTo>
                  <a:pt x="739" y="1946"/>
                  <a:pt x="734" y="1950"/>
                  <a:pt x="733" y="1955"/>
                </a:cubicBezTo>
                <a:cubicBezTo>
                  <a:pt x="732" y="1961"/>
                  <a:pt x="733" y="1964"/>
                  <a:pt x="725" y="1960"/>
                </a:cubicBezTo>
                <a:cubicBezTo>
                  <a:pt x="717" y="1957"/>
                  <a:pt x="708" y="1961"/>
                  <a:pt x="702" y="1967"/>
                </a:cubicBezTo>
                <a:cubicBezTo>
                  <a:pt x="697" y="1974"/>
                  <a:pt x="704" y="1980"/>
                  <a:pt x="707" y="1985"/>
                </a:cubicBezTo>
                <a:cubicBezTo>
                  <a:pt x="711" y="1992"/>
                  <a:pt x="715" y="1997"/>
                  <a:pt x="723" y="1989"/>
                </a:cubicBezTo>
                <a:cubicBezTo>
                  <a:pt x="725" y="1987"/>
                  <a:pt x="731" y="1987"/>
                  <a:pt x="734" y="1985"/>
                </a:cubicBezTo>
                <a:cubicBezTo>
                  <a:pt x="738" y="1983"/>
                  <a:pt x="741" y="1982"/>
                  <a:pt x="743" y="1987"/>
                </a:cubicBezTo>
                <a:cubicBezTo>
                  <a:pt x="745" y="1991"/>
                  <a:pt x="744" y="1995"/>
                  <a:pt x="739" y="1996"/>
                </a:cubicBezTo>
                <a:cubicBezTo>
                  <a:pt x="735" y="1997"/>
                  <a:pt x="730" y="1996"/>
                  <a:pt x="730" y="2003"/>
                </a:cubicBezTo>
                <a:cubicBezTo>
                  <a:pt x="731" y="2010"/>
                  <a:pt x="735" y="2014"/>
                  <a:pt x="741" y="2016"/>
                </a:cubicBezTo>
                <a:cubicBezTo>
                  <a:pt x="753" y="2018"/>
                  <a:pt x="765" y="2030"/>
                  <a:pt x="778" y="2023"/>
                </a:cubicBezTo>
                <a:cubicBezTo>
                  <a:pt x="788" y="2018"/>
                  <a:pt x="783" y="2000"/>
                  <a:pt x="792" y="1991"/>
                </a:cubicBezTo>
                <a:cubicBezTo>
                  <a:pt x="792" y="1991"/>
                  <a:pt x="790" y="1987"/>
                  <a:pt x="789" y="1987"/>
                </a:cubicBezTo>
                <a:close/>
                <a:moveTo>
                  <a:pt x="1331" y="115"/>
                </a:moveTo>
                <a:cubicBezTo>
                  <a:pt x="1334" y="112"/>
                  <a:pt x="1336" y="106"/>
                  <a:pt x="1340" y="107"/>
                </a:cubicBezTo>
                <a:cubicBezTo>
                  <a:pt x="1358" y="113"/>
                  <a:pt x="1364" y="100"/>
                  <a:pt x="1372" y="89"/>
                </a:cubicBezTo>
                <a:cubicBezTo>
                  <a:pt x="1373" y="87"/>
                  <a:pt x="1373" y="85"/>
                  <a:pt x="1376" y="85"/>
                </a:cubicBezTo>
                <a:cubicBezTo>
                  <a:pt x="1391" y="82"/>
                  <a:pt x="1386" y="74"/>
                  <a:pt x="1382" y="65"/>
                </a:cubicBezTo>
                <a:cubicBezTo>
                  <a:pt x="1377" y="55"/>
                  <a:pt x="1368" y="47"/>
                  <a:pt x="1367" y="36"/>
                </a:cubicBezTo>
                <a:cubicBezTo>
                  <a:pt x="1365" y="15"/>
                  <a:pt x="1353" y="8"/>
                  <a:pt x="1332" y="15"/>
                </a:cubicBezTo>
                <a:cubicBezTo>
                  <a:pt x="1333" y="20"/>
                  <a:pt x="1337" y="22"/>
                  <a:pt x="1342" y="24"/>
                </a:cubicBezTo>
                <a:cubicBezTo>
                  <a:pt x="1347" y="26"/>
                  <a:pt x="1354" y="28"/>
                  <a:pt x="1352" y="34"/>
                </a:cubicBezTo>
                <a:cubicBezTo>
                  <a:pt x="1351" y="40"/>
                  <a:pt x="1344" y="36"/>
                  <a:pt x="1340" y="35"/>
                </a:cubicBezTo>
                <a:cubicBezTo>
                  <a:pt x="1334" y="34"/>
                  <a:pt x="1329" y="35"/>
                  <a:pt x="1326" y="40"/>
                </a:cubicBezTo>
                <a:cubicBezTo>
                  <a:pt x="1322" y="45"/>
                  <a:pt x="1325" y="49"/>
                  <a:pt x="1329" y="52"/>
                </a:cubicBezTo>
                <a:cubicBezTo>
                  <a:pt x="1336" y="58"/>
                  <a:pt x="1322" y="66"/>
                  <a:pt x="1331" y="72"/>
                </a:cubicBezTo>
                <a:cubicBezTo>
                  <a:pt x="1338" y="76"/>
                  <a:pt x="1346" y="67"/>
                  <a:pt x="1351" y="75"/>
                </a:cubicBezTo>
                <a:cubicBezTo>
                  <a:pt x="1351" y="75"/>
                  <a:pt x="1352" y="75"/>
                  <a:pt x="1352" y="76"/>
                </a:cubicBezTo>
                <a:cubicBezTo>
                  <a:pt x="1364" y="81"/>
                  <a:pt x="1355" y="89"/>
                  <a:pt x="1354" y="94"/>
                </a:cubicBezTo>
                <a:cubicBezTo>
                  <a:pt x="1351" y="101"/>
                  <a:pt x="1348" y="96"/>
                  <a:pt x="1343" y="92"/>
                </a:cubicBezTo>
                <a:cubicBezTo>
                  <a:pt x="1332" y="81"/>
                  <a:pt x="1331" y="99"/>
                  <a:pt x="1323" y="102"/>
                </a:cubicBezTo>
                <a:cubicBezTo>
                  <a:pt x="1319" y="103"/>
                  <a:pt x="1313" y="108"/>
                  <a:pt x="1318" y="114"/>
                </a:cubicBezTo>
                <a:cubicBezTo>
                  <a:pt x="1322" y="118"/>
                  <a:pt x="1327" y="121"/>
                  <a:pt x="1331" y="115"/>
                </a:cubicBezTo>
                <a:close/>
                <a:moveTo>
                  <a:pt x="719" y="2016"/>
                </a:moveTo>
                <a:cubicBezTo>
                  <a:pt x="713" y="2014"/>
                  <a:pt x="715" y="2009"/>
                  <a:pt x="712" y="2006"/>
                </a:cubicBezTo>
                <a:cubicBezTo>
                  <a:pt x="707" y="2000"/>
                  <a:pt x="701" y="1996"/>
                  <a:pt x="692" y="1999"/>
                </a:cubicBezTo>
                <a:cubicBezTo>
                  <a:pt x="686" y="2001"/>
                  <a:pt x="680" y="2004"/>
                  <a:pt x="680" y="2010"/>
                </a:cubicBezTo>
                <a:cubicBezTo>
                  <a:pt x="681" y="2019"/>
                  <a:pt x="683" y="2028"/>
                  <a:pt x="688" y="2036"/>
                </a:cubicBezTo>
                <a:cubicBezTo>
                  <a:pt x="688" y="2037"/>
                  <a:pt x="692" y="2037"/>
                  <a:pt x="694" y="2036"/>
                </a:cubicBezTo>
                <a:cubicBezTo>
                  <a:pt x="702" y="2031"/>
                  <a:pt x="707" y="2032"/>
                  <a:pt x="713" y="2040"/>
                </a:cubicBezTo>
                <a:cubicBezTo>
                  <a:pt x="716" y="2044"/>
                  <a:pt x="720" y="2048"/>
                  <a:pt x="726" y="2047"/>
                </a:cubicBezTo>
                <a:cubicBezTo>
                  <a:pt x="728" y="2041"/>
                  <a:pt x="722" y="2037"/>
                  <a:pt x="725" y="2032"/>
                </a:cubicBezTo>
                <a:cubicBezTo>
                  <a:pt x="733" y="2021"/>
                  <a:pt x="733" y="2020"/>
                  <a:pt x="719" y="2016"/>
                </a:cubicBezTo>
                <a:close/>
                <a:moveTo>
                  <a:pt x="2727" y="1574"/>
                </a:moveTo>
                <a:cubicBezTo>
                  <a:pt x="2717" y="1568"/>
                  <a:pt x="2712" y="1562"/>
                  <a:pt x="2721" y="1551"/>
                </a:cubicBezTo>
                <a:cubicBezTo>
                  <a:pt x="2725" y="1546"/>
                  <a:pt x="2728" y="1538"/>
                  <a:pt x="2722" y="1532"/>
                </a:cubicBezTo>
                <a:cubicBezTo>
                  <a:pt x="2719" y="1528"/>
                  <a:pt x="2709" y="1530"/>
                  <a:pt x="2712" y="1523"/>
                </a:cubicBezTo>
                <a:cubicBezTo>
                  <a:pt x="2716" y="1513"/>
                  <a:pt x="2719" y="1528"/>
                  <a:pt x="2724" y="1525"/>
                </a:cubicBezTo>
                <a:cubicBezTo>
                  <a:pt x="2728" y="1522"/>
                  <a:pt x="2732" y="1526"/>
                  <a:pt x="2736" y="1526"/>
                </a:cubicBezTo>
                <a:cubicBezTo>
                  <a:pt x="2739" y="1527"/>
                  <a:pt x="2742" y="1526"/>
                  <a:pt x="2742" y="1523"/>
                </a:cubicBezTo>
                <a:cubicBezTo>
                  <a:pt x="2742" y="1516"/>
                  <a:pt x="2736" y="1513"/>
                  <a:pt x="2732" y="1509"/>
                </a:cubicBezTo>
                <a:cubicBezTo>
                  <a:pt x="2729" y="1506"/>
                  <a:pt x="2726" y="1503"/>
                  <a:pt x="2721" y="1506"/>
                </a:cubicBezTo>
                <a:cubicBezTo>
                  <a:pt x="2718" y="1509"/>
                  <a:pt x="2714" y="1514"/>
                  <a:pt x="2709" y="1509"/>
                </a:cubicBezTo>
                <a:cubicBezTo>
                  <a:pt x="2708" y="1508"/>
                  <a:pt x="2708" y="1506"/>
                  <a:pt x="2708" y="1505"/>
                </a:cubicBezTo>
                <a:cubicBezTo>
                  <a:pt x="2711" y="1501"/>
                  <a:pt x="2716" y="1502"/>
                  <a:pt x="2720" y="1501"/>
                </a:cubicBezTo>
                <a:cubicBezTo>
                  <a:pt x="2722" y="1500"/>
                  <a:pt x="2724" y="1500"/>
                  <a:pt x="2726" y="1500"/>
                </a:cubicBezTo>
                <a:cubicBezTo>
                  <a:pt x="2731" y="1501"/>
                  <a:pt x="2736" y="1503"/>
                  <a:pt x="2736" y="1495"/>
                </a:cubicBezTo>
                <a:cubicBezTo>
                  <a:pt x="2736" y="1488"/>
                  <a:pt x="2731" y="1487"/>
                  <a:pt x="2725" y="1488"/>
                </a:cubicBezTo>
                <a:cubicBezTo>
                  <a:pt x="2709" y="1491"/>
                  <a:pt x="2698" y="1481"/>
                  <a:pt x="2686" y="1475"/>
                </a:cubicBezTo>
                <a:cubicBezTo>
                  <a:pt x="2682" y="1473"/>
                  <a:pt x="2672" y="1465"/>
                  <a:pt x="2685" y="1458"/>
                </a:cubicBezTo>
                <a:cubicBezTo>
                  <a:pt x="2688" y="1456"/>
                  <a:pt x="2692" y="1453"/>
                  <a:pt x="2696" y="1450"/>
                </a:cubicBezTo>
                <a:cubicBezTo>
                  <a:pt x="2699" y="1448"/>
                  <a:pt x="2707" y="1449"/>
                  <a:pt x="2704" y="1442"/>
                </a:cubicBezTo>
                <a:cubicBezTo>
                  <a:pt x="2701" y="1434"/>
                  <a:pt x="2692" y="1432"/>
                  <a:pt x="2686" y="1430"/>
                </a:cubicBezTo>
                <a:cubicBezTo>
                  <a:pt x="2678" y="1428"/>
                  <a:pt x="2686" y="1438"/>
                  <a:pt x="2681" y="1440"/>
                </a:cubicBezTo>
                <a:cubicBezTo>
                  <a:pt x="2669" y="1433"/>
                  <a:pt x="2658" y="1432"/>
                  <a:pt x="2650" y="1443"/>
                </a:cubicBezTo>
                <a:cubicBezTo>
                  <a:pt x="2644" y="1452"/>
                  <a:pt x="2638" y="1449"/>
                  <a:pt x="2631" y="1447"/>
                </a:cubicBezTo>
                <a:cubicBezTo>
                  <a:pt x="2629" y="1446"/>
                  <a:pt x="2624" y="1446"/>
                  <a:pt x="2627" y="1442"/>
                </a:cubicBezTo>
                <a:cubicBezTo>
                  <a:pt x="2629" y="1440"/>
                  <a:pt x="2628" y="1435"/>
                  <a:pt x="2633" y="1435"/>
                </a:cubicBezTo>
                <a:cubicBezTo>
                  <a:pt x="2643" y="1435"/>
                  <a:pt x="2643" y="1435"/>
                  <a:pt x="2639" y="1427"/>
                </a:cubicBezTo>
                <a:cubicBezTo>
                  <a:pt x="2638" y="1424"/>
                  <a:pt x="2634" y="1421"/>
                  <a:pt x="2638" y="1416"/>
                </a:cubicBezTo>
                <a:cubicBezTo>
                  <a:pt x="2647" y="1424"/>
                  <a:pt x="2652" y="1440"/>
                  <a:pt x="2668" y="1430"/>
                </a:cubicBezTo>
                <a:cubicBezTo>
                  <a:pt x="2666" y="1425"/>
                  <a:pt x="2666" y="1424"/>
                  <a:pt x="2671" y="1421"/>
                </a:cubicBezTo>
                <a:cubicBezTo>
                  <a:pt x="2674" y="1419"/>
                  <a:pt x="2673" y="1417"/>
                  <a:pt x="2672" y="1415"/>
                </a:cubicBezTo>
                <a:cubicBezTo>
                  <a:pt x="2666" y="1406"/>
                  <a:pt x="2661" y="1398"/>
                  <a:pt x="2648" y="1403"/>
                </a:cubicBezTo>
                <a:cubicBezTo>
                  <a:pt x="2636" y="1406"/>
                  <a:pt x="2635" y="1396"/>
                  <a:pt x="2633" y="1388"/>
                </a:cubicBezTo>
                <a:cubicBezTo>
                  <a:pt x="2632" y="1382"/>
                  <a:pt x="2624" y="1372"/>
                  <a:pt x="2636" y="1370"/>
                </a:cubicBezTo>
                <a:cubicBezTo>
                  <a:pt x="2653" y="1366"/>
                  <a:pt x="2657" y="1356"/>
                  <a:pt x="2655" y="1342"/>
                </a:cubicBezTo>
                <a:cubicBezTo>
                  <a:pt x="2666" y="1346"/>
                  <a:pt x="2675" y="1355"/>
                  <a:pt x="2687" y="1347"/>
                </a:cubicBezTo>
                <a:cubicBezTo>
                  <a:pt x="2696" y="1341"/>
                  <a:pt x="2684" y="1333"/>
                  <a:pt x="2688" y="1329"/>
                </a:cubicBezTo>
                <a:cubicBezTo>
                  <a:pt x="2698" y="1319"/>
                  <a:pt x="2693" y="1306"/>
                  <a:pt x="2695" y="1295"/>
                </a:cubicBezTo>
                <a:cubicBezTo>
                  <a:pt x="2697" y="1284"/>
                  <a:pt x="2694" y="1279"/>
                  <a:pt x="2683" y="1282"/>
                </a:cubicBezTo>
                <a:cubicBezTo>
                  <a:pt x="2688" y="1275"/>
                  <a:pt x="2693" y="1271"/>
                  <a:pt x="2701" y="1273"/>
                </a:cubicBezTo>
                <a:cubicBezTo>
                  <a:pt x="2697" y="1254"/>
                  <a:pt x="2674" y="1258"/>
                  <a:pt x="2669" y="1242"/>
                </a:cubicBezTo>
                <a:cubicBezTo>
                  <a:pt x="2675" y="1240"/>
                  <a:pt x="2682" y="1246"/>
                  <a:pt x="2685" y="1239"/>
                </a:cubicBezTo>
                <a:cubicBezTo>
                  <a:pt x="2688" y="1234"/>
                  <a:pt x="2679" y="1234"/>
                  <a:pt x="2676" y="1230"/>
                </a:cubicBezTo>
                <a:cubicBezTo>
                  <a:pt x="2672" y="1226"/>
                  <a:pt x="2674" y="1220"/>
                  <a:pt x="2674" y="1215"/>
                </a:cubicBezTo>
                <a:cubicBezTo>
                  <a:pt x="2675" y="1213"/>
                  <a:pt x="2676" y="1211"/>
                  <a:pt x="2679" y="1212"/>
                </a:cubicBezTo>
                <a:cubicBezTo>
                  <a:pt x="2693" y="1223"/>
                  <a:pt x="2692" y="1210"/>
                  <a:pt x="2693" y="1202"/>
                </a:cubicBezTo>
                <a:cubicBezTo>
                  <a:pt x="2700" y="1203"/>
                  <a:pt x="2709" y="1208"/>
                  <a:pt x="2709" y="1200"/>
                </a:cubicBezTo>
                <a:cubicBezTo>
                  <a:pt x="2709" y="1191"/>
                  <a:pt x="2708" y="1187"/>
                  <a:pt x="2718" y="1187"/>
                </a:cubicBezTo>
                <a:cubicBezTo>
                  <a:pt x="2723" y="1187"/>
                  <a:pt x="2722" y="1183"/>
                  <a:pt x="2721" y="1180"/>
                </a:cubicBezTo>
                <a:cubicBezTo>
                  <a:pt x="2720" y="1175"/>
                  <a:pt x="2717" y="1170"/>
                  <a:pt x="2716" y="1165"/>
                </a:cubicBezTo>
                <a:cubicBezTo>
                  <a:pt x="2715" y="1158"/>
                  <a:pt x="2710" y="1149"/>
                  <a:pt x="2725" y="1149"/>
                </a:cubicBezTo>
                <a:cubicBezTo>
                  <a:pt x="2731" y="1150"/>
                  <a:pt x="2735" y="1143"/>
                  <a:pt x="2733" y="1137"/>
                </a:cubicBezTo>
                <a:cubicBezTo>
                  <a:pt x="2731" y="1131"/>
                  <a:pt x="2727" y="1126"/>
                  <a:pt x="2720" y="1129"/>
                </a:cubicBezTo>
                <a:cubicBezTo>
                  <a:pt x="2715" y="1131"/>
                  <a:pt x="2710" y="1133"/>
                  <a:pt x="2705" y="1134"/>
                </a:cubicBezTo>
                <a:cubicBezTo>
                  <a:pt x="2716" y="1127"/>
                  <a:pt x="2714" y="1121"/>
                  <a:pt x="2709" y="1111"/>
                </a:cubicBezTo>
                <a:cubicBezTo>
                  <a:pt x="2702" y="1098"/>
                  <a:pt x="2693" y="1101"/>
                  <a:pt x="2684" y="1104"/>
                </a:cubicBezTo>
                <a:cubicBezTo>
                  <a:pt x="2678" y="1105"/>
                  <a:pt x="2670" y="1104"/>
                  <a:pt x="2671" y="1111"/>
                </a:cubicBezTo>
                <a:cubicBezTo>
                  <a:pt x="2672" y="1118"/>
                  <a:pt x="2679" y="1114"/>
                  <a:pt x="2684" y="1113"/>
                </a:cubicBezTo>
                <a:cubicBezTo>
                  <a:pt x="2694" y="1111"/>
                  <a:pt x="2698" y="1116"/>
                  <a:pt x="2699" y="1125"/>
                </a:cubicBezTo>
                <a:cubicBezTo>
                  <a:pt x="2692" y="1119"/>
                  <a:pt x="2686" y="1117"/>
                  <a:pt x="2680" y="1126"/>
                </a:cubicBezTo>
                <a:cubicBezTo>
                  <a:pt x="2677" y="1132"/>
                  <a:pt x="2672" y="1131"/>
                  <a:pt x="2667" y="1128"/>
                </a:cubicBezTo>
                <a:cubicBezTo>
                  <a:pt x="2663" y="1126"/>
                  <a:pt x="2659" y="1123"/>
                  <a:pt x="2662" y="1117"/>
                </a:cubicBezTo>
                <a:cubicBezTo>
                  <a:pt x="2663" y="1115"/>
                  <a:pt x="2664" y="1111"/>
                  <a:pt x="2663" y="1110"/>
                </a:cubicBezTo>
                <a:cubicBezTo>
                  <a:pt x="2651" y="1094"/>
                  <a:pt x="2666" y="1082"/>
                  <a:pt x="2670" y="1069"/>
                </a:cubicBezTo>
                <a:cubicBezTo>
                  <a:pt x="2672" y="1064"/>
                  <a:pt x="2674" y="1068"/>
                  <a:pt x="2676" y="1069"/>
                </a:cubicBezTo>
                <a:cubicBezTo>
                  <a:pt x="2680" y="1071"/>
                  <a:pt x="2683" y="1071"/>
                  <a:pt x="2685" y="1068"/>
                </a:cubicBezTo>
                <a:cubicBezTo>
                  <a:pt x="2688" y="1064"/>
                  <a:pt x="2685" y="1060"/>
                  <a:pt x="2682" y="1058"/>
                </a:cubicBezTo>
                <a:cubicBezTo>
                  <a:pt x="2669" y="1052"/>
                  <a:pt x="2673" y="1045"/>
                  <a:pt x="2682" y="1038"/>
                </a:cubicBezTo>
                <a:cubicBezTo>
                  <a:pt x="2685" y="1036"/>
                  <a:pt x="2687" y="1032"/>
                  <a:pt x="2686" y="1028"/>
                </a:cubicBezTo>
                <a:cubicBezTo>
                  <a:pt x="2684" y="1024"/>
                  <a:pt x="2679" y="1025"/>
                  <a:pt x="2676" y="1025"/>
                </a:cubicBezTo>
                <a:cubicBezTo>
                  <a:pt x="2671" y="1024"/>
                  <a:pt x="2665" y="1026"/>
                  <a:pt x="2660" y="1023"/>
                </a:cubicBezTo>
                <a:cubicBezTo>
                  <a:pt x="2657" y="1020"/>
                  <a:pt x="2654" y="1013"/>
                  <a:pt x="2649" y="1018"/>
                </a:cubicBezTo>
                <a:cubicBezTo>
                  <a:pt x="2644" y="1022"/>
                  <a:pt x="2653" y="1025"/>
                  <a:pt x="2652" y="1029"/>
                </a:cubicBezTo>
                <a:cubicBezTo>
                  <a:pt x="2646" y="1034"/>
                  <a:pt x="2643" y="1024"/>
                  <a:pt x="2637" y="1028"/>
                </a:cubicBezTo>
                <a:cubicBezTo>
                  <a:pt x="2625" y="1036"/>
                  <a:pt x="2623" y="1026"/>
                  <a:pt x="2622" y="1017"/>
                </a:cubicBezTo>
                <a:cubicBezTo>
                  <a:pt x="2622" y="1011"/>
                  <a:pt x="2620" y="1007"/>
                  <a:pt x="2614" y="1010"/>
                </a:cubicBezTo>
                <a:cubicBezTo>
                  <a:pt x="2606" y="1014"/>
                  <a:pt x="2602" y="1006"/>
                  <a:pt x="2594" y="1005"/>
                </a:cubicBezTo>
                <a:cubicBezTo>
                  <a:pt x="2602" y="999"/>
                  <a:pt x="2603" y="996"/>
                  <a:pt x="2601" y="986"/>
                </a:cubicBezTo>
                <a:cubicBezTo>
                  <a:pt x="2601" y="985"/>
                  <a:pt x="2601" y="982"/>
                  <a:pt x="2602" y="982"/>
                </a:cubicBezTo>
                <a:cubicBezTo>
                  <a:pt x="2610" y="976"/>
                  <a:pt x="2605" y="967"/>
                  <a:pt x="2605" y="960"/>
                </a:cubicBezTo>
                <a:cubicBezTo>
                  <a:pt x="2604" y="951"/>
                  <a:pt x="2605" y="943"/>
                  <a:pt x="2613" y="936"/>
                </a:cubicBezTo>
                <a:cubicBezTo>
                  <a:pt x="2616" y="937"/>
                  <a:pt x="2616" y="950"/>
                  <a:pt x="2622" y="942"/>
                </a:cubicBezTo>
                <a:cubicBezTo>
                  <a:pt x="2631" y="931"/>
                  <a:pt x="2635" y="938"/>
                  <a:pt x="2641" y="945"/>
                </a:cubicBezTo>
                <a:cubicBezTo>
                  <a:pt x="2648" y="951"/>
                  <a:pt x="2659" y="953"/>
                  <a:pt x="2665" y="946"/>
                </a:cubicBezTo>
                <a:cubicBezTo>
                  <a:pt x="2671" y="939"/>
                  <a:pt x="2668" y="930"/>
                  <a:pt x="2661" y="923"/>
                </a:cubicBezTo>
                <a:cubicBezTo>
                  <a:pt x="2658" y="920"/>
                  <a:pt x="2655" y="919"/>
                  <a:pt x="2650" y="921"/>
                </a:cubicBezTo>
                <a:cubicBezTo>
                  <a:pt x="2645" y="925"/>
                  <a:pt x="2638" y="926"/>
                  <a:pt x="2634" y="922"/>
                </a:cubicBezTo>
                <a:cubicBezTo>
                  <a:pt x="2626" y="913"/>
                  <a:pt x="2621" y="917"/>
                  <a:pt x="2614" y="923"/>
                </a:cubicBezTo>
                <a:cubicBezTo>
                  <a:pt x="2617" y="910"/>
                  <a:pt x="2639" y="897"/>
                  <a:pt x="2660" y="895"/>
                </a:cubicBezTo>
                <a:cubicBezTo>
                  <a:pt x="2653" y="896"/>
                  <a:pt x="2650" y="899"/>
                  <a:pt x="2650" y="906"/>
                </a:cubicBezTo>
                <a:cubicBezTo>
                  <a:pt x="2650" y="912"/>
                  <a:pt x="2655" y="913"/>
                  <a:pt x="2660" y="914"/>
                </a:cubicBezTo>
                <a:cubicBezTo>
                  <a:pt x="2666" y="916"/>
                  <a:pt x="2672" y="915"/>
                  <a:pt x="2676" y="910"/>
                </a:cubicBezTo>
                <a:cubicBezTo>
                  <a:pt x="2683" y="902"/>
                  <a:pt x="2676" y="880"/>
                  <a:pt x="2666" y="874"/>
                </a:cubicBezTo>
                <a:cubicBezTo>
                  <a:pt x="2670" y="869"/>
                  <a:pt x="2678" y="875"/>
                  <a:pt x="2679" y="869"/>
                </a:cubicBezTo>
                <a:cubicBezTo>
                  <a:pt x="2681" y="862"/>
                  <a:pt x="2673" y="861"/>
                  <a:pt x="2667" y="860"/>
                </a:cubicBezTo>
                <a:cubicBezTo>
                  <a:pt x="2663" y="859"/>
                  <a:pt x="2661" y="856"/>
                  <a:pt x="2659" y="853"/>
                </a:cubicBezTo>
                <a:cubicBezTo>
                  <a:pt x="2658" y="851"/>
                  <a:pt x="2658" y="846"/>
                  <a:pt x="2653" y="847"/>
                </a:cubicBezTo>
                <a:cubicBezTo>
                  <a:pt x="2650" y="848"/>
                  <a:pt x="2651" y="852"/>
                  <a:pt x="2650" y="855"/>
                </a:cubicBezTo>
                <a:cubicBezTo>
                  <a:pt x="2646" y="863"/>
                  <a:pt x="2643" y="872"/>
                  <a:pt x="2636" y="878"/>
                </a:cubicBezTo>
                <a:cubicBezTo>
                  <a:pt x="2630" y="883"/>
                  <a:pt x="2624" y="874"/>
                  <a:pt x="2618" y="871"/>
                </a:cubicBezTo>
                <a:cubicBezTo>
                  <a:pt x="2609" y="868"/>
                  <a:pt x="2598" y="865"/>
                  <a:pt x="2591" y="872"/>
                </a:cubicBezTo>
                <a:cubicBezTo>
                  <a:pt x="2581" y="882"/>
                  <a:pt x="2568" y="881"/>
                  <a:pt x="2558" y="877"/>
                </a:cubicBezTo>
                <a:cubicBezTo>
                  <a:pt x="2550" y="875"/>
                  <a:pt x="2549" y="874"/>
                  <a:pt x="2549" y="882"/>
                </a:cubicBezTo>
                <a:cubicBezTo>
                  <a:pt x="2548" y="891"/>
                  <a:pt x="2543" y="892"/>
                  <a:pt x="2536" y="890"/>
                </a:cubicBezTo>
                <a:cubicBezTo>
                  <a:pt x="2530" y="889"/>
                  <a:pt x="2525" y="888"/>
                  <a:pt x="2519" y="891"/>
                </a:cubicBezTo>
                <a:cubicBezTo>
                  <a:pt x="2511" y="895"/>
                  <a:pt x="2504" y="892"/>
                  <a:pt x="2499" y="886"/>
                </a:cubicBezTo>
                <a:cubicBezTo>
                  <a:pt x="2493" y="879"/>
                  <a:pt x="2483" y="874"/>
                  <a:pt x="2481" y="863"/>
                </a:cubicBezTo>
                <a:cubicBezTo>
                  <a:pt x="2481" y="861"/>
                  <a:pt x="2479" y="858"/>
                  <a:pt x="2476" y="858"/>
                </a:cubicBezTo>
                <a:cubicBezTo>
                  <a:pt x="2471" y="859"/>
                  <a:pt x="2473" y="863"/>
                  <a:pt x="2474" y="866"/>
                </a:cubicBezTo>
                <a:cubicBezTo>
                  <a:pt x="2477" y="874"/>
                  <a:pt x="2473" y="876"/>
                  <a:pt x="2466" y="876"/>
                </a:cubicBezTo>
                <a:cubicBezTo>
                  <a:pt x="2457" y="876"/>
                  <a:pt x="2446" y="868"/>
                  <a:pt x="2449" y="864"/>
                </a:cubicBezTo>
                <a:cubicBezTo>
                  <a:pt x="2460" y="850"/>
                  <a:pt x="2448" y="852"/>
                  <a:pt x="2442" y="849"/>
                </a:cubicBezTo>
                <a:cubicBezTo>
                  <a:pt x="2448" y="849"/>
                  <a:pt x="2454" y="850"/>
                  <a:pt x="2460" y="850"/>
                </a:cubicBezTo>
                <a:cubicBezTo>
                  <a:pt x="2463" y="851"/>
                  <a:pt x="2468" y="855"/>
                  <a:pt x="2470" y="848"/>
                </a:cubicBezTo>
                <a:cubicBezTo>
                  <a:pt x="2471" y="844"/>
                  <a:pt x="2470" y="840"/>
                  <a:pt x="2465" y="838"/>
                </a:cubicBezTo>
                <a:cubicBezTo>
                  <a:pt x="2451" y="832"/>
                  <a:pt x="2461" y="827"/>
                  <a:pt x="2466" y="823"/>
                </a:cubicBezTo>
                <a:cubicBezTo>
                  <a:pt x="2470" y="826"/>
                  <a:pt x="2473" y="830"/>
                  <a:pt x="2477" y="833"/>
                </a:cubicBezTo>
                <a:cubicBezTo>
                  <a:pt x="2479" y="835"/>
                  <a:pt x="2482" y="837"/>
                  <a:pt x="2484" y="836"/>
                </a:cubicBezTo>
                <a:cubicBezTo>
                  <a:pt x="2487" y="834"/>
                  <a:pt x="2488" y="831"/>
                  <a:pt x="2487" y="829"/>
                </a:cubicBezTo>
                <a:cubicBezTo>
                  <a:pt x="2485" y="815"/>
                  <a:pt x="2486" y="801"/>
                  <a:pt x="2478" y="790"/>
                </a:cubicBezTo>
                <a:cubicBezTo>
                  <a:pt x="2494" y="797"/>
                  <a:pt x="2495" y="797"/>
                  <a:pt x="2500" y="778"/>
                </a:cubicBezTo>
                <a:cubicBezTo>
                  <a:pt x="2503" y="767"/>
                  <a:pt x="2501" y="755"/>
                  <a:pt x="2513" y="746"/>
                </a:cubicBezTo>
                <a:cubicBezTo>
                  <a:pt x="2517" y="743"/>
                  <a:pt x="2517" y="737"/>
                  <a:pt x="2511" y="733"/>
                </a:cubicBezTo>
                <a:cubicBezTo>
                  <a:pt x="2506" y="731"/>
                  <a:pt x="2503" y="727"/>
                  <a:pt x="2499" y="723"/>
                </a:cubicBezTo>
                <a:cubicBezTo>
                  <a:pt x="2506" y="721"/>
                  <a:pt x="2511" y="729"/>
                  <a:pt x="2516" y="723"/>
                </a:cubicBezTo>
                <a:cubicBezTo>
                  <a:pt x="2519" y="720"/>
                  <a:pt x="2516" y="715"/>
                  <a:pt x="2513" y="714"/>
                </a:cubicBezTo>
                <a:cubicBezTo>
                  <a:pt x="2502" y="708"/>
                  <a:pt x="2498" y="691"/>
                  <a:pt x="2481" y="692"/>
                </a:cubicBezTo>
                <a:cubicBezTo>
                  <a:pt x="2472" y="692"/>
                  <a:pt x="2464" y="689"/>
                  <a:pt x="2470" y="675"/>
                </a:cubicBezTo>
                <a:cubicBezTo>
                  <a:pt x="2476" y="662"/>
                  <a:pt x="2464" y="653"/>
                  <a:pt x="2457" y="644"/>
                </a:cubicBezTo>
                <a:cubicBezTo>
                  <a:pt x="2451" y="638"/>
                  <a:pt x="2447" y="646"/>
                  <a:pt x="2443" y="650"/>
                </a:cubicBezTo>
                <a:cubicBezTo>
                  <a:pt x="2441" y="653"/>
                  <a:pt x="2434" y="653"/>
                  <a:pt x="2432" y="649"/>
                </a:cubicBezTo>
                <a:cubicBezTo>
                  <a:pt x="2429" y="646"/>
                  <a:pt x="2425" y="643"/>
                  <a:pt x="2426" y="638"/>
                </a:cubicBezTo>
                <a:cubicBezTo>
                  <a:pt x="2427" y="637"/>
                  <a:pt x="2430" y="635"/>
                  <a:pt x="2431" y="635"/>
                </a:cubicBezTo>
                <a:cubicBezTo>
                  <a:pt x="2438" y="639"/>
                  <a:pt x="2445" y="634"/>
                  <a:pt x="2451" y="636"/>
                </a:cubicBezTo>
                <a:cubicBezTo>
                  <a:pt x="2455" y="638"/>
                  <a:pt x="2457" y="637"/>
                  <a:pt x="2459" y="634"/>
                </a:cubicBezTo>
                <a:cubicBezTo>
                  <a:pt x="2461" y="629"/>
                  <a:pt x="2459" y="628"/>
                  <a:pt x="2455" y="625"/>
                </a:cubicBezTo>
                <a:cubicBezTo>
                  <a:pt x="2449" y="620"/>
                  <a:pt x="2431" y="627"/>
                  <a:pt x="2438" y="608"/>
                </a:cubicBezTo>
                <a:cubicBezTo>
                  <a:pt x="2439" y="604"/>
                  <a:pt x="2395" y="592"/>
                  <a:pt x="2387" y="594"/>
                </a:cubicBezTo>
                <a:cubicBezTo>
                  <a:pt x="2392" y="602"/>
                  <a:pt x="2400" y="604"/>
                  <a:pt x="2407" y="607"/>
                </a:cubicBezTo>
                <a:cubicBezTo>
                  <a:pt x="2417" y="612"/>
                  <a:pt x="2414" y="619"/>
                  <a:pt x="2411" y="626"/>
                </a:cubicBezTo>
                <a:cubicBezTo>
                  <a:pt x="2409" y="629"/>
                  <a:pt x="2405" y="633"/>
                  <a:pt x="2402" y="628"/>
                </a:cubicBezTo>
                <a:cubicBezTo>
                  <a:pt x="2393" y="613"/>
                  <a:pt x="2383" y="617"/>
                  <a:pt x="2372" y="624"/>
                </a:cubicBezTo>
                <a:cubicBezTo>
                  <a:pt x="2370" y="625"/>
                  <a:pt x="2367" y="627"/>
                  <a:pt x="2366" y="627"/>
                </a:cubicBezTo>
                <a:cubicBezTo>
                  <a:pt x="2362" y="619"/>
                  <a:pt x="2356" y="614"/>
                  <a:pt x="2348" y="612"/>
                </a:cubicBezTo>
                <a:cubicBezTo>
                  <a:pt x="2358" y="603"/>
                  <a:pt x="2340" y="595"/>
                  <a:pt x="2348" y="587"/>
                </a:cubicBezTo>
                <a:cubicBezTo>
                  <a:pt x="2348" y="586"/>
                  <a:pt x="2349" y="583"/>
                  <a:pt x="2350" y="583"/>
                </a:cubicBezTo>
                <a:cubicBezTo>
                  <a:pt x="2360" y="586"/>
                  <a:pt x="2360" y="566"/>
                  <a:pt x="2372" y="573"/>
                </a:cubicBezTo>
                <a:cubicBezTo>
                  <a:pt x="2373" y="574"/>
                  <a:pt x="2376" y="571"/>
                  <a:pt x="2376" y="569"/>
                </a:cubicBezTo>
                <a:cubicBezTo>
                  <a:pt x="2375" y="559"/>
                  <a:pt x="2381" y="548"/>
                  <a:pt x="2372" y="539"/>
                </a:cubicBezTo>
                <a:cubicBezTo>
                  <a:pt x="2367" y="533"/>
                  <a:pt x="2366" y="529"/>
                  <a:pt x="2375" y="524"/>
                </a:cubicBezTo>
                <a:cubicBezTo>
                  <a:pt x="2382" y="519"/>
                  <a:pt x="2378" y="513"/>
                  <a:pt x="2374" y="507"/>
                </a:cubicBezTo>
                <a:cubicBezTo>
                  <a:pt x="2373" y="506"/>
                  <a:pt x="2366" y="505"/>
                  <a:pt x="2373" y="502"/>
                </a:cubicBezTo>
                <a:cubicBezTo>
                  <a:pt x="2384" y="496"/>
                  <a:pt x="2377" y="491"/>
                  <a:pt x="2371" y="487"/>
                </a:cubicBezTo>
                <a:cubicBezTo>
                  <a:pt x="2365" y="484"/>
                  <a:pt x="2359" y="480"/>
                  <a:pt x="2356" y="468"/>
                </a:cubicBezTo>
                <a:cubicBezTo>
                  <a:pt x="2360" y="472"/>
                  <a:pt x="2361" y="473"/>
                  <a:pt x="2362" y="474"/>
                </a:cubicBezTo>
                <a:cubicBezTo>
                  <a:pt x="2367" y="476"/>
                  <a:pt x="2369" y="485"/>
                  <a:pt x="2375" y="480"/>
                </a:cubicBezTo>
                <a:cubicBezTo>
                  <a:pt x="2379" y="477"/>
                  <a:pt x="2385" y="471"/>
                  <a:pt x="2385" y="467"/>
                </a:cubicBezTo>
                <a:cubicBezTo>
                  <a:pt x="2385" y="459"/>
                  <a:pt x="2376" y="463"/>
                  <a:pt x="2371" y="461"/>
                </a:cubicBezTo>
                <a:cubicBezTo>
                  <a:pt x="2368" y="461"/>
                  <a:pt x="2364" y="459"/>
                  <a:pt x="2361" y="460"/>
                </a:cubicBezTo>
                <a:cubicBezTo>
                  <a:pt x="2350" y="464"/>
                  <a:pt x="2351" y="458"/>
                  <a:pt x="2351" y="450"/>
                </a:cubicBezTo>
                <a:cubicBezTo>
                  <a:pt x="2351" y="445"/>
                  <a:pt x="2353" y="441"/>
                  <a:pt x="2357" y="437"/>
                </a:cubicBezTo>
                <a:cubicBezTo>
                  <a:pt x="2360" y="433"/>
                  <a:pt x="2362" y="428"/>
                  <a:pt x="2358" y="424"/>
                </a:cubicBezTo>
                <a:cubicBezTo>
                  <a:pt x="2353" y="420"/>
                  <a:pt x="2347" y="416"/>
                  <a:pt x="2342" y="413"/>
                </a:cubicBezTo>
                <a:cubicBezTo>
                  <a:pt x="2336" y="416"/>
                  <a:pt x="2345" y="421"/>
                  <a:pt x="2340" y="424"/>
                </a:cubicBezTo>
                <a:cubicBezTo>
                  <a:pt x="2320" y="410"/>
                  <a:pt x="2315" y="413"/>
                  <a:pt x="2308" y="444"/>
                </a:cubicBezTo>
                <a:cubicBezTo>
                  <a:pt x="2304" y="434"/>
                  <a:pt x="2301" y="427"/>
                  <a:pt x="2292" y="423"/>
                </a:cubicBezTo>
                <a:cubicBezTo>
                  <a:pt x="2284" y="420"/>
                  <a:pt x="2284" y="415"/>
                  <a:pt x="2292" y="410"/>
                </a:cubicBezTo>
                <a:cubicBezTo>
                  <a:pt x="2303" y="402"/>
                  <a:pt x="2305" y="389"/>
                  <a:pt x="2297" y="378"/>
                </a:cubicBezTo>
                <a:cubicBezTo>
                  <a:pt x="2294" y="373"/>
                  <a:pt x="2293" y="369"/>
                  <a:pt x="2293" y="363"/>
                </a:cubicBezTo>
                <a:cubicBezTo>
                  <a:pt x="2294" y="355"/>
                  <a:pt x="2290" y="349"/>
                  <a:pt x="2286" y="343"/>
                </a:cubicBezTo>
                <a:cubicBezTo>
                  <a:pt x="2280" y="333"/>
                  <a:pt x="2270" y="332"/>
                  <a:pt x="2261" y="337"/>
                </a:cubicBezTo>
                <a:cubicBezTo>
                  <a:pt x="2251" y="343"/>
                  <a:pt x="2259" y="351"/>
                  <a:pt x="2261" y="357"/>
                </a:cubicBezTo>
                <a:cubicBezTo>
                  <a:pt x="2262" y="361"/>
                  <a:pt x="2269" y="365"/>
                  <a:pt x="2263" y="368"/>
                </a:cubicBezTo>
                <a:cubicBezTo>
                  <a:pt x="2258" y="372"/>
                  <a:pt x="2253" y="364"/>
                  <a:pt x="2247" y="363"/>
                </a:cubicBezTo>
                <a:cubicBezTo>
                  <a:pt x="2242" y="363"/>
                  <a:pt x="2241" y="360"/>
                  <a:pt x="2243" y="357"/>
                </a:cubicBezTo>
                <a:cubicBezTo>
                  <a:pt x="2249" y="349"/>
                  <a:pt x="2246" y="344"/>
                  <a:pt x="2236" y="341"/>
                </a:cubicBezTo>
                <a:cubicBezTo>
                  <a:pt x="2240" y="339"/>
                  <a:pt x="2242" y="338"/>
                  <a:pt x="2243" y="337"/>
                </a:cubicBezTo>
                <a:cubicBezTo>
                  <a:pt x="2247" y="333"/>
                  <a:pt x="2257" y="331"/>
                  <a:pt x="2253" y="325"/>
                </a:cubicBezTo>
                <a:cubicBezTo>
                  <a:pt x="2250" y="320"/>
                  <a:pt x="2241" y="318"/>
                  <a:pt x="2233" y="321"/>
                </a:cubicBezTo>
                <a:cubicBezTo>
                  <a:pt x="2226" y="324"/>
                  <a:pt x="2224" y="330"/>
                  <a:pt x="2223" y="337"/>
                </a:cubicBezTo>
                <a:cubicBezTo>
                  <a:pt x="2221" y="348"/>
                  <a:pt x="2208" y="360"/>
                  <a:pt x="2197" y="361"/>
                </a:cubicBezTo>
                <a:cubicBezTo>
                  <a:pt x="2190" y="361"/>
                  <a:pt x="2188" y="365"/>
                  <a:pt x="2187" y="371"/>
                </a:cubicBezTo>
                <a:cubicBezTo>
                  <a:pt x="2187" y="377"/>
                  <a:pt x="2191" y="380"/>
                  <a:pt x="2196" y="381"/>
                </a:cubicBezTo>
                <a:cubicBezTo>
                  <a:pt x="2203" y="384"/>
                  <a:pt x="2203" y="388"/>
                  <a:pt x="2201" y="395"/>
                </a:cubicBezTo>
                <a:cubicBezTo>
                  <a:pt x="2199" y="402"/>
                  <a:pt x="2197" y="403"/>
                  <a:pt x="2190" y="400"/>
                </a:cubicBezTo>
                <a:cubicBezTo>
                  <a:pt x="2184" y="397"/>
                  <a:pt x="2183" y="402"/>
                  <a:pt x="2186" y="406"/>
                </a:cubicBezTo>
                <a:cubicBezTo>
                  <a:pt x="2192" y="413"/>
                  <a:pt x="2187" y="415"/>
                  <a:pt x="2183" y="417"/>
                </a:cubicBezTo>
                <a:cubicBezTo>
                  <a:pt x="2175" y="419"/>
                  <a:pt x="2180" y="412"/>
                  <a:pt x="2179" y="410"/>
                </a:cubicBezTo>
                <a:cubicBezTo>
                  <a:pt x="2174" y="401"/>
                  <a:pt x="2170" y="392"/>
                  <a:pt x="2159" y="404"/>
                </a:cubicBezTo>
                <a:cubicBezTo>
                  <a:pt x="2155" y="408"/>
                  <a:pt x="2150" y="410"/>
                  <a:pt x="2143" y="409"/>
                </a:cubicBezTo>
                <a:cubicBezTo>
                  <a:pt x="2135" y="407"/>
                  <a:pt x="2127" y="413"/>
                  <a:pt x="2125" y="421"/>
                </a:cubicBezTo>
                <a:cubicBezTo>
                  <a:pt x="2123" y="431"/>
                  <a:pt x="2132" y="428"/>
                  <a:pt x="2137" y="429"/>
                </a:cubicBezTo>
                <a:cubicBezTo>
                  <a:pt x="2142" y="430"/>
                  <a:pt x="2143" y="433"/>
                  <a:pt x="2144" y="437"/>
                </a:cubicBezTo>
                <a:cubicBezTo>
                  <a:pt x="2146" y="440"/>
                  <a:pt x="2148" y="445"/>
                  <a:pt x="2150" y="446"/>
                </a:cubicBezTo>
                <a:cubicBezTo>
                  <a:pt x="2158" y="447"/>
                  <a:pt x="2165" y="449"/>
                  <a:pt x="2162" y="459"/>
                </a:cubicBezTo>
                <a:cubicBezTo>
                  <a:pt x="2160" y="468"/>
                  <a:pt x="2157" y="476"/>
                  <a:pt x="2145" y="477"/>
                </a:cubicBezTo>
                <a:cubicBezTo>
                  <a:pt x="2137" y="477"/>
                  <a:pt x="2135" y="489"/>
                  <a:pt x="2138" y="490"/>
                </a:cubicBezTo>
                <a:cubicBezTo>
                  <a:pt x="2147" y="495"/>
                  <a:pt x="2147" y="506"/>
                  <a:pt x="2154" y="511"/>
                </a:cubicBezTo>
                <a:cubicBezTo>
                  <a:pt x="2147" y="514"/>
                  <a:pt x="2145" y="510"/>
                  <a:pt x="2141" y="505"/>
                </a:cubicBezTo>
                <a:cubicBezTo>
                  <a:pt x="2136" y="499"/>
                  <a:pt x="2128" y="489"/>
                  <a:pt x="2118" y="498"/>
                </a:cubicBezTo>
                <a:cubicBezTo>
                  <a:pt x="2111" y="503"/>
                  <a:pt x="2106" y="514"/>
                  <a:pt x="2115" y="519"/>
                </a:cubicBezTo>
                <a:cubicBezTo>
                  <a:pt x="2130" y="528"/>
                  <a:pt x="2118" y="536"/>
                  <a:pt x="2116" y="544"/>
                </a:cubicBezTo>
                <a:cubicBezTo>
                  <a:pt x="2116" y="547"/>
                  <a:pt x="2109" y="545"/>
                  <a:pt x="2109" y="544"/>
                </a:cubicBezTo>
                <a:cubicBezTo>
                  <a:pt x="2115" y="528"/>
                  <a:pt x="2087" y="516"/>
                  <a:pt x="2105" y="500"/>
                </a:cubicBezTo>
                <a:cubicBezTo>
                  <a:pt x="2107" y="498"/>
                  <a:pt x="2104" y="494"/>
                  <a:pt x="2101" y="494"/>
                </a:cubicBezTo>
                <a:cubicBezTo>
                  <a:pt x="2096" y="493"/>
                  <a:pt x="2092" y="486"/>
                  <a:pt x="2086" y="489"/>
                </a:cubicBezTo>
                <a:cubicBezTo>
                  <a:pt x="2077" y="492"/>
                  <a:pt x="2091" y="498"/>
                  <a:pt x="2084" y="502"/>
                </a:cubicBezTo>
                <a:cubicBezTo>
                  <a:pt x="2081" y="501"/>
                  <a:pt x="2078" y="498"/>
                  <a:pt x="2078" y="495"/>
                </a:cubicBezTo>
                <a:cubicBezTo>
                  <a:pt x="2080" y="481"/>
                  <a:pt x="2076" y="475"/>
                  <a:pt x="2060" y="479"/>
                </a:cubicBezTo>
                <a:cubicBezTo>
                  <a:pt x="2052" y="482"/>
                  <a:pt x="2061" y="469"/>
                  <a:pt x="2053" y="468"/>
                </a:cubicBezTo>
                <a:cubicBezTo>
                  <a:pt x="2052" y="468"/>
                  <a:pt x="2052" y="465"/>
                  <a:pt x="2054" y="464"/>
                </a:cubicBezTo>
                <a:cubicBezTo>
                  <a:pt x="2059" y="462"/>
                  <a:pt x="2060" y="465"/>
                  <a:pt x="2061" y="469"/>
                </a:cubicBezTo>
                <a:cubicBezTo>
                  <a:pt x="2064" y="476"/>
                  <a:pt x="2070" y="475"/>
                  <a:pt x="2074" y="471"/>
                </a:cubicBezTo>
                <a:cubicBezTo>
                  <a:pt x="2081" y="466"/>
                  <a:pt x="2074" y="464"/>
                  <a:pt x="2071" y="461"/>
                </a:cubicBezTo>
                <a:cubicBezTo>
                  <a:pt x="2068" y="459"/>
                  <a:pt x="2065" y="455"/>
                  <a:pt x="2068" y="452"/>
                </a:cubicBezTo>
                <a:cubicBezTo>
                  <a:pt x="2081" y="441"/>
                  <a:pt x="2079" y="432"/>
                  <a:pt x="2065" y="424"/>
                </a:cubicBezTo>
                <a:cubicBezTo>
                  <a:pt x="2064" y="423"/>
                  <a:pt x="2064" y="422"/>
                  <a:pt x="2064" y="421"/>
                </a:cubicBezTo>
                <a:cubicBezTo>
                  <a:pt x="2067" y="403"/>
                  <a:pt x="2049" y="397"/>
                  <a:pt x="2040" y="395"/>
                </a:cubicBezTo>
                <a:cubicBezTo>
                  <a:pt x="2023" y="390"/>
                  <a:pt x="2015" y="376"/>
                  <a:pt x="2001" y="369"/>
                </a:cubicBezTo>
                <a:cubicBezTo>
                  <a:pt x="1997" y="367"/>
                  <a:pt x="1999" y="361"/>
                  <a:pt x="2002" y="360"/>
                </a:cubicBezTo>
                <a:cubicBezTo>
                  <a:pt x="2019" y="351"/>
                  <a:pt x="2011" y="332"/>
                  <a:pt x="2020" y="320"/>
                </a:cubicBezTo>
                <a:cubicBezTo>
                  <a:pt x="2021" y="318"/>
                  <a:pt x="2020" y="317"/>
                  <a:pt x="2019" y="315"/>
                </a:cubicBezTo>
                <a:cubicBezTo>
                  <a:pt x="2030" y="323"/>
                  <a:pt x="2046" y="312"/>
                  <a:pt x="2057" y="323"/>
                </a:cubicBezTo>
                <a:cubicBezTo>
                  <a:pt x="2050" y="310"/>
                  <a:pt x="2044" y="297"/>
                  <a:pt x="2035" y="287"/>
                </a:cubicBezTo>
                <a:cubicBezTo>
                  <a:pt x="2029" y="280"/>
                  <a:pt x="2016" y="286"/>
                  <a:pt x="2014" y="296"/>
                </a:cubicBezTo>
                <a:cubicBezTo>
                  <a:pt x="2013" y="300"/>
                  <a:pt x="2013" y="305"/>
                  <a:pt x="2013" y="310"/>
                </a:cubicBezTo>
                <a:cubicBezTo>
                  <a:pt x="2014" y="311"/>
                  <a:pt x="2015" y="311"/>
                  <a:pt x="2016" y="312"/>
                </a:cubicBezTo>
                <a:cubicBezTo>
                  <a:pt x="2016" y="312"/>
                  <a:pt x="2016" y="312"/>
                  <a:pt x="2016" y="312"/>
                </a:cubicBezTo>
                <a:cubicBezTo>
                  <a:pt x="2016" y="312"/>
                  <a:pt x="2016" y="312"/>
                  <a:pt x="2016" y="312"/>
                </a:cubicBezTo>
                <a:cubicBezTo>
                  <a:pt x="2015" y="311"/>
                  <a:pt x="2014" y="311"/>
                  <a:pt x="2013" y="310"/>
                </a:cubicBezTo>
                <a:cubicBezTo>
                  <a:pt x="2006" y="304"/>
                  <a:pt x="2005" y="302"/>
                  <a:pt x="1998" y="264"/>
                </a:cubicBezTo>
                <a:cubicBezTo>
                  <a:pt x="2013" y="277"/>
                  <a:pt x="2029" y="281"/>
                  <a:pt x="2048" y="271"/>
                </a:cubicBezTo>
                <a:cubicBezTo>
                  <a:pt x="2058" y="265"/>
                  <a:pt x="2058" y="255"/>
                  <a:pt x="2058" y="248"/>
                </a:cubicBezTo>
                <a:cubicBezTo>
                  <a:pt x="2059" y="240"/>
                  <a:pt x="2048" y="242"/>
                  <a:pt x="2041" y="243"/>
                </a:cubicBezTo>
                <a:cubicBezTo>
                  <a:pt x="2036" y="244"/>
                  <a:pt x="2028" y="241"/>
                  <a:pt x="2028" y="251"/>
                </a:cubicBezTo>
                <a:cubicBezTo>
                  <a:pt x="2028" y="256"/>
                  <a:pt x="2023" y="257"/>
                  <a:pt x="2021" y="256"/>
                </a:cubicBezTo>
                <a:cubicBezTo>
                  <a:pt x="2010" y="251"/>
                  <a:pt x="1998" y="252"/>
                  <a:pt x="1988" y="249"/>
                </a:cubicBezTo>
                <a:cubicBezTo>
                  <a:pt x="1974" y="245"/>
                  <a:pt x="1966" y="249"/>
                  <a:pt x="1960" y="263"/>
                </a:cubicBezTo>
                <a:cubicBezTo>
                  <a:pt x="1954" y="274"/>
                  <a:pt x="1953" y="292"/>
                  <a:pt x="1932" y="290"/>
                </a:cubicBezTo>
                <a:cubicBezTo>
                  <a:pt x="1930" y="289"/>
                  <a:pt x="1926" y="293"/>
                  <a:pt x="1925" y="295"/>
                </a:cubicBezTo>
                <a:cubicBezTo>
                  <a:pt x="1925" y="303"/>
                  <a:pt x="1923" y="307"/>
                  <a:pt x="1914" y="306"/>
                </a:cubicBezTo>
                <a:cubicBezTo>
                  <a:pt x="1909" y="305"/>
                  <a:pt x="1903" y="309"/>
                  <a:pt x="1899" y="301"/>
                </a:cubicBezTo>
                <a:cubicBezTo>
                  <a:pt x="1894" y="293"/>
                  <a:pt x="1886" y="298"/>
                  <a:pt x="1884" y="304"/>
                </a:cubicBezTo>
                <a:cubicBezTo>
                  <a:pt x="1880" y="314"/>
                  <a:pt x="1875" y="309"/>
                  <a:pt x="1865" y="307"/>
                </a:cubicBezTo>
                <a:cubicBezTo>
                  <a:pt x="1882" y="302"/>
                  <a:pt x="1893" y="296"/>
                  <a:pt x="1889" y="278"/>
                </a:cubicBezTo>
                <a:cubicBezTo>
                  <a:pt x="1889" y="277"/>
                  <a:pt x="1892" y="275"/>
                  <a:pt x="1893" y="272"/>
                </a:cubicBezTo>
                <a:cubicBezTo>
                  <a:pt x="1896" y="266"/>
                  <a:pt x="1897" y="260"/>
                  <a:pt x="1891" y="255"/>
                </a:cubicBezTo>
                <a:cubicBezTo>
                  <a:pt x="1887" y="252"/>
                  <a:pt x="1881" y="251"/>
                  <a:pt x="1877" y="255"/>
                </a:cubicBezTo>
                <a:cubicBezTo>
                  <a:pt x="1870" y="261"/>
                  <a:pt x="1882" y="263"/>
                  <a:pt x="1881" y="269"/>
                </a:cubicBezTo>
                <a:cubicBezTo>
                  <a:pt x="1864" y="262"/>
                  <a:pt x="1852" y="235"/>
                  <a:pt x="1855" y="211"/>
                </a:cubicBezTo>
                <a:cubicBezTo>
                  <a:pt x="1860" y="213"/>
                  <a:pt x="1865" y="218"/>
                  <a:pt x="1871" y="216"/>
                </a:cubicBezTo>
                <a:cubicBezTo>
                  <a:pt x="1877" y="214"/>
                  <a:pt x="1881" y="217"/>
                  <a:pt x="1884" y="223"/>
                </a:cubicBezTo>
                <a:cubicBezTo>
                  <a:pt x="1877" y="226"/>
                  <a:pt x="1874" y="214"/>
                  <a:pt x="1867" y="221"/>
                </a:cubicBezTo>
                <a:cubicBezTo>
                  <a:pt x="1865" y="224"/>
                  <a:pt x="1865" y="227"/>
                  <a:pt x="1867" y="230"/>
                </a:cubicBezTo>
                <a:cubicBezTo>
                  <a:pt x="1871" y="237"/>
                  <a:pt x="1877" y="242"/>
                  <a:pt x="1885" y="241"/>
                </a:cubicBezTo>
                <a:cubicBezTo>
                  <a:pt x="1895" y="239"/>
                  <a:pt x="1895" y="229"/>
                  <a:pt x="1897" y="221"/>
                </a:cubicBezTo>
                <a:cubicBezTo>
                  <a:pt x="1898" y="213"/>
                  <a:pt x="1892" y="211"/>
                  <a:pt x="1885" y="208"/>
                </a:cubicBezTo>
                <a:cubicBezTo>
                  <a:pt x="1868" y="202"/>
                  <a:pt x="1848" y="201"/>
                  <a:pt x="1837" y="182"/>
                </a:cubicBezTo>
                <a:cubicBezTo>
                  <a:pt x="1852" y="173"/>
                  <a:pt x="1852" y="173"/>
                  <a:pt x="1837" y="162"/>
                </a:cubicBezTo>
                <a:cubicBezTo>
                  <a:pt x="1834" y="160"/>
                  <a:pt x="1832" y="158"/>
                  <a:pt x="1832" y="155"/>
                </a:cubicBezTo>
                <a:cubicBezTo>
                  <a:pt x="1829" y="136"/>
                  <a:pt x="1819" y="125"/>
                  <a:pt x="1801" y="122"/>
                </a:cubicBezTo>
                <a:cubicBezTo>
                  <a:pt x="1797" y="122"/>
                  <a:pt x="1795" y="116"/>
                  <a:pt x="1791" y="120"/>
                </a:cubicBezTo>
                <a:cubicBezTo>
                  <a:pt x="1788" y="123"/>
                  <a:pt x="1788" y="128"/>
                  <a:pt x="1792" y="131"/>
                </a:cubicBezTo>
                <a:cubicBezTo>
                  <a:pt x="1795" y="133"/>
                  <a:pt x="1797" y="136"/>
                  <a:pt x="1794" y="139"/>
                </a:cubicBezTo>
                <a:cubicBezTo>
                  <a:pt x="1792" y="142"/>
                  <a:pt x="1789" y="141"/>
                  <a:pt x="1786" y="140"/>
                </a:cubicBezTo>
                <a:cubicBezTo>
                  <a:pt x="1783" y="139"/>
                  <a:pt x="1780" y="138"/>
                  <a:pt x="1777" y="138"/>
                </a:cubicBezTo>
                <a:cubicBezTo>
                  <a:pt x="1773" y="138"/>
                  <a:pt x="1768" y="144"/>
                  <a:pt x="1764" y="138"/>
                </a:cubicBezTo>
                <a:cubicBezTo>
                  <a:pt x="1761" y="133"/>
                  <a:pt x="1765" y="128"/>
                  <a:pt x="1768" y="124"/>
                </a:cubicBezTo>
                <a:cubicBezTo>
                  <a:pt x="1771" y="119"/>
                  <a:pt x="1774" y="113"/>
                  <a:pt x="1767" y="109"/>
                </a:cubicBezTo>
                <a:cubicBezTo>
                  <a:pt x="1761" y="105"/>
                  <a:pt x="1753" y="102"/>
                  <a:pt x="1748" y="110"/>
                </a:cubicBezTo>
                <a:cubicBezTo>
                  <a:pt x="1745" y="115"/>
                  <a:pt x="1741" y="117"/>
                  <a:pt x="1737" y="119"/>
                </a:cubicBezTo>
                <a:cubicBezTo>
                  <a:pt x="1723" y="127"/>
                  <a:pt x="1711" y="137"/>
                  <a:pt x="1706" y="153"/>
                </a:cubicBezTo>
                <a:cubicBezTo>
                  <a:pt x="1705" y="156"/>
                  <a:pt x="1675" y="184"/>
                  <a:pt x="1674" y="183"/>
                </a:cubicBezTo>
                <a:cubicBezTo>
                  <a:pt x="1669" y="180"/>
                  <a:pt x="1665" y="176"/>
                  <a:pt x="1661" y="173"/>
                </a:cubicBezTo>
                <a:cubicBezTo>
                  <a:pt x="1666" y="167"/>
                  <a:pt x="1681" y="177"/>
                  <a:pt x="1677" y="165"/>
                </a:cubicBezTo>
                <a:cubicBezTo>
                  <a:pt x="1673" y="155"/>
                  <a:pt x="1669" y="143"/>
                  <a:pt x="1661" y="135"/>
                </a:cubicBezTo>
                <a:cubicBezTo>
                  <a:pt x="1649" y="123"/>
                  <a:pt x="1646" y="107"/>
                  <a:pt x="1634" y="94"/>
                </a:cubicBezTo>
                <a:cubicBezTo>
                  <a:pt x="1640" y="94"/>
                  <a:pt x="1643" y="94"/>
                  <a:pt x="1646" y="94"/>
                </a:cubicBezTo>
                <a:cubicBezTo>
                  <a:pt x="1650" y="95"/>
                  <a:pt x="1655" y="98"/>
                  <a:pt x="1658" y="93"/>
                </a:cubicBezTo>
                <a:cubicBezTo>
                  <a:pt x="1661" y="89"/>
                  <a:pt x="1657" y="85"/>
                  <a:pt x="1655" y="82"/>
                </a:cubicBezTo>
                <a:cubicBezTo>
                  <a:pt x="1648" y="73"/>
                  <a:pt x="1642" y="63"/>
                  <a:pt x="1633" y="54"/>
                </a:cubicBezTo>
                <a:cubicBezTo>
                  <a:pt x="1618" y="41"/>
                  <a:pt x="1610" y="47"/>
                  <a:pt x="1600" y="55"/>
                </a:cubicBezTo>
                <a:cubicBezTo>
                  <a:pt x="1594" y="60"/>
                  <a:pt x="1588" y="62"/>
                  <a:pt x="1579" y="62"/>
                </a:cubicBezTo>
                <a:cubicBezTo>
                  <a:pt x="1584" y="51"/>
                  <a:pt x="1577" y="42"/>
                  <a:pt x="1572" y="33"/>
                </a:cubicBezTo>
                <a:cubicBezTo>
                  <a:pt x="1569" y="28"/>
                  <a:pt x="1565" y="24"/>
                  <a:pt x="1569" y="17"/>
                </a:cubicBezTo>
                <a:cubicBezTo>
                  <a:pt x="1572" y="12"/>
                  <a:pt x="1557" y="0"/>
                  <a:pt x="1551" y="2"/>
                </a:cubicBezTo>
                <a:cubicBezTo>
                  <a:pt x="1542" y="7"/>
                  <a:pt x="1533" y="12"/>
                  <a:pt x="1524" y="17"/>
                </a:cubicBezTo>
                <a:cubicBezTo>
                  <a:pt x="1518" y="20"/>
                  <a:pt x="1518" y="25"/>
                  <a:pt x="1519" y="32"/>
                </a:cubicBezTo>
                <a:cubicBezTo>
                  <a:pt x="1520" y="39"/>
                  <a:pt x="1528" y="51"/>
                  <a:pt x="1518" y="54"/>
                </a:cubicBezTo>
                <a:cubicBezTo>
                  <a:pt x="1503" y="60"/>
                  <a:pt x="1505" y="67"/>
                  <a:pt x="1512" y="77"/>
                </a:cubicBezTo>
                <a:cubicBezTo>
                  <a:pt x="1500" y="78"/>
                  <a:pt x="1497" y="59"/>
                  <a:pt x="1486" y="68"/>
                </a:cubicBezTo>
                <a:cubicBezTo>
                  <a:pt x="1482" y="71"/>
                  <a:pt x="1480" y="79"/>
                  <a:pt x="1478" y="86"/>
                </a:cubicBezTo>
                <a:cubicBezTo>
                  <a:pt x="1476" y="96"/>
                  <a:pt x="1492" y="93"/>
                  <a:pt x="1489" y="102"/>
                </a:cubicBezTo>
                <a:cubicBezTo>
                  <a:pt x="1481" y="104"/>
                  <a:pt x="1472" y="96"/>
                  <a:pt x="1466" y="107"/>
                </a:cubicBezTo>
                <a:cubicBezTo>
                  <a:pt x="1462" y="115"/>
                  <a:pt x="1468" y="120"/>
                  <a:pt x="1474" y="124"/>
                </a:cubicBezTo>
                <a:cubicBezTo>
                  <a:pt x="1471" y="125"/>
                  <a:pt x="1470" y="126"/>
                  <a:pt x="1469" y="127"/>
                </a:cubicBezTo>
                <a:cubicBezTo>
                  <a:pt x="1463" y="130"/>
                  <a:pt x="1452" y="131"/>
                  <a:pt x="1456" y="140"/>
                </a:cubicBezTo>
                <a:cubicBezTo>
                  <a:pt x="1458" y="147"/>
                  <a:pt x="1466" y="148"/>
                  <a:pt x="1475" y="145"/>
                </a:cubicBezTo>
                <a:cubicBezTo>
                  <a:pt x="1483" y="141"/>
                  <a:pt x="1482" y="149"/>
                  <a:pt x="1481" y="154"/>
                </a:cubicBezTo>
                <a:cubicBezTo>
                  <a:pt x="1479" y="165"/>
                  <a:pt x="1467" y="166"/>
                  <a:pt x="1458" y="171"/>
                </a:cubicBezTo>
                <a:cubicBezTo>
                  <a:pt x="1467" y="173"/>
                  <a:pt x="1468" y="175"/>
                  <a:pt x="1480" y="192"/>
                </a:cubicBezTo>
                <a:cubicBezTo>
                  <a:pt x="1459" y="184"/>
                  <a:pt x="1454" y="186"/>
                  <a:pt x="1442" y="206"/>
                </a:cubicBezTo>
                <a:cubicBezTo>
                  <a:pt x="1440" y="209"/>
                  <a:pt x="1441" y="214"/>
                  <a:pt x="1434" y="211"/>
                </a:cubicBezTo>
                <a:cubicBezTo>
                  <a:pt x="1421" y="206"/>
                  <a:pt x="1426" y="199"/>
                  <a:pt x="1432" y="196"/>
                </a:cubicBezTo>
                <a:cubicBezTo>
                  <a:pt x="1440" y="192"/>
                  <a:pt x="1442" y="186"/>
                  <a:pt x="1437" y="181"/>
                </a:cubicBezTo>
                <a:cubicBezTo>
                  <a:pt x="1430" y="173"/>
                  <a:pt x="1430" y="185"/>
                  <a:pt x="1427" y="187"/>
                </a:cubicBezTo>
                <a:cubicBezTo>
                  <a:pt x="1423" y="189"/>
                  <a:pt x="1418" y="192"/>
                  <a:pt x="1417" y="188"/>
                </a:cubicBezTo>
                <a:cubicBezTo>
                  <a:pt x="1415" y="179"/>
                  <a:pt x="1406" y="178"/>
                  <a:pt x="1403" y="170"/>
                </a:cubicBezTo>
                <a:cubicBezTo>
                  <a:pt x="1400" y="161"/>
                  <a:pt x="1396" y="157"/>
                  <a:pt x="1408" y="151"/>
                </a:cubicBezTo>
                <a:cubicBezTo>
                  <a:pt x="1421" y="143"/>
                  <a:pt x="1420" y="135"/>
                  <a:pt x="1408" y="128"/>
                </a:cubicBezTo>
                <a:cubicBezTo>
                  <a:pt x="1394" y="121"/>
                  <a:pt x="1383" y="121"/>
                  <a:pt x="1372" y="133"/>
                </a:cubicBezTo>
                <a:cubicBezTo>
                  <a:pt x="1369" y="137"/>
                  <a:pt x="1364" y="141"/>
                  <a:pt x="1357" y="136"/>
                </a:cubicBezTo>
                <a:cubicBezTo>
                  <a:pt x="1362" y="133"/>
                  <a:pt x="1372" y="135"/>
                  <a:pt x="1367" y="126"/>
                </a:cubicBezTo>
                <a:cubicBezTo>
                  <a:pt x="1364" y="121"/>
                  <a:pt x="1359" y="118"/>
                  <a:pt x="1353" y="122"/>
                </a:cubicBezTo>
                <a:cubicBezTo>
                  <a:pt x="1350" y="124"/>
                  <a:pt x="1347" y="128"/>
                  <a:pt x="1347" y="132"/>
                </a:cubicBezTo>
                <a:cubicBezTo>
                  <a:pt x="1347" y="137"/>
                  <a:pt x="1345" y="141"/>
                  <a:pt x="1339" y="142"/>
                </a:cubicBezTo>
                <a:cubicBezTo>
                  <a:pt x="1326" y="143"/>
                  <a:pt x="1322" y="158"/>
                  <a:pt x="1311" y="162"/>
                </a:cubicBezTo>
                <a:cubicBezTo>
                  <a:pt x="1309" y="162"/>
                  <a:pt x="1309" y="165"/>
                  <a:pt x="1310" y="167"/>
                </a:cubicBezTo>
                <a:cubicBezTo>
                  <a:pt x="1311" y="170"/>
                  <a:pt x="1313" y="170"/>
                  <a:pt x="1316" y="170"/>
                </a:cubicBezTo>
                <a:cubicBezTo>
                  <a:pt x="1321" y="169"/>
                  <a:pt x="1329" y="168"/>
                  <a:pt x="1330" y="170"/>
                </a:cubicBezTo>
                <a:cubicBezTo>
                  <a:pt x="1340" y="187"/>
                  <a:pt x="1353" y="178"/>
                  <a:pt x="1366" y="174"/>
                </a:cubicBezTo>
                <a:cubicBezTo>
                  <a:pt x="1364" y="182"/>
                  <a:pt x="1361" y="187"/>
                  <a:pt x="1352" y="186"/>
                </a:cubicBezTo>
                <a:cubicBezTo>
                  <a:pt x="1347" y="186"/>
                  <a:pt x="1340" y="185"/>
                  <a:pt x="1338" y="192"/>
                </a:cubicBezTo>
                <a:cubicBezTo>
                  <a:pt x="1335" y="199"/>
                  <a:pt x="1341" y="204"/>
                  <a:pt x="1346" y="208"/>
                </a:cubicBezTo>
                <a:cubicBezTo>
                  <a:pt x="1314" y="197"/>
                  <a:pt x="1344" y="228"/>
                  <a:pt x="1331" y="229"/>
                </a:cubicBezTo>
                <a:cubicBezTo>
                  <a:pt x="1328" y="230"/>
                  <a:pt x="1326" y="211"/>
                  <a:pt x="1321" y="229"/>
                </a:cubicBezTo>
                <a:cubicBezTo>
                  <a:pt x="1320" y="233"/>
                  <a:pt x="1317" y="231"/>
                  <a:pt x="1315" y="231"/>
                </a:cubicBezTo>
                <a:cubicBezTo>
                  <a:pt x="1304" y="228"/>
                  <a:pt x="1294" y="224"/>
                  <a:pt x="1291" y="211"/>
                </a:cubicBezTo>
                <a:cubicBezTo>
                  <a:pt x="1296" y="212"/>
                  <a:pt x="1299" y="213"/>
                  <a:pt x="1302" y="213"/>
                </a:cubicBezTo>
                <a:cubicBezTo>
                  <a:pt x="1307" y="213"/>
                  <a:pt x="1309" y="217"/>
                  <a:pt x="1311" y="219"/>
                </a:cubicBezTo>
                <a:cubicBezTo>
                  <a:pt x="1317" y="223"/>
                  <a:pt x="1319" y="217"/>
                  <a:pt x="1323" y="215"/>
                </a:cubicBezTo>
                <a:cubicBezTo>
                  <a:pt x="1326" y="213"/>
                  <a:pt x="1329" y="211"/>
                  <a:pt x="1328" y="206"/>
                </a:cubicBezTo>
                <a:cubicBezTo>
                  <a:pt x="1326" y="201"/>
                  <a:pt x="1308" y="196"/>
                  <a:pt x="1302" y="198"/>
                </a:cubicBezTo>
                <a:cubicBezTo>
                  <a:pt x="1290" y="200"/>
                  <a:pt x="1281" y="210"/>
                  <a:pt x="1268" y="215"/>
                </a:cubicBezTo>
                <a:cubicBezTo>
                  <a:pt x="1272" y="206"/>
                  <a:pt x="1269" y="201"/>
                  <a:pt x="1262" y="196"/>
                </a:cubicBezTo>
                <a:cubicBezTo>
                  <a:pt x="1259" y="194"/>
                  <a:pt x="1254" y="189"/>
                  <a:pt x="1262" y="186"/>
                </a:cubicBezTo>
                <a:cubicBezTo>
                  <a:pt x="1265" y="184"/>
                  <a:pt x="1270" y="186"/>
                  <a:pt x="1270" y="180"/>
                </a:cubicBezTo>
                <a:cubicBezTo>
                  <a:pt x="1270" y="175"/>
                  <a:pt x="1265" y="174"/>
                  <a:pt x="1261" y="174"/>
                </a:cubicBezTo>
                <a:cubicBezTo>
                  <a:pt x="1256" y="174"/>
                  <a:pt x="1253" y="171"/>
                  <a:pt x="1250" y="168"/>
                </a:cubicBezTo>
                <a:cubicBezTo>
                  <a:pt x="1246" y="164"/>
                  <a:pt x="1243" y="159"/>
                  <a:pt x="1237" y="167"/>
                </a:cubicBezTo>
                <a:cubicBezTo>
                  <a:pt x="1232" y="171"/>
                  <a:pt x="1225" y="167"/>
                  <a:pt x="1221" y="162"/>
                </a:cubicBezTo>
                <a:cubicBezTo>
                  <a:pt x="1217" y="156"/>
                  <a:pt x="1220" y="155"/>
                  <a:pt x="1224" y="152"/>
                </a:cubicBezTo>
                <a:cubicBezTo>
                  <a:pt x="1243" y="139"/>
                  <a:pt x="1244" y="124"/>
                  <a:pt x="1228" y="105"/>
                </a:cubicBezTo>
                <a:cubicBezTo>
                  <a:pt x="1226" y="102"/>
                  <a:pt x="1225" y="101"/>
                  <a:pt x="1227" y="97"/>
                </a:cubicBezTo>
                <a:cubicBezTo>
                  <a:pt x="1230" y="89"/>
                  <a:pt x="1225" y="89"/>
                  <a:pt x="1219" y="90"/>
                </a:cubicBezTo>
                <a:cubicBezTo>
                  <a:pt x="1215" y="90"/>
                  <a:pt x="1212" y="96"/>
                  <a:pt x="1206" y="93"/>
                </a:cubicBezTo>
                <a:cubicBezTo>
                  <a:pt x="1209" y="89"/>
                  <a:pt x="1217" y="87"/>
                  <a:pt x="1213" y="81"/>
                </a:cubicBezTo>
                <a:cubicBezTo>
                  <a:pt x="1208" y="75"/>
                  <a:pt x="1202" y="81"/>
                  <a:pt x="1198" y="84"/>
                </a:cubicBezTo>
                <a:cubicBezTo>
                  <a:pt x="1185" y="90"/>
                  <a:pt x="1182" y="104"/>
                  <a:pt x="1172" y="113"/>
                </a:cubicBezTo>
                <a:cubicBezTo>
                  <a:pt x="1164" y="120"/>
                  <a:pt x="1156" y="129"/>
                  <a:pt x="1169" y="140"/>
                </a:cubicBezTo>
                <a:cubicBezTo>
                  <a:pt x="1170" y="140"/>
                  <a:pt x="1170" y="143"/>
                  <a:pt x="1170" y="144"/>
                </a:cubicBezTo>
                <a:cubicBezTo>
                  <a:pt x="1175" y="160"/>
                  <a:pt x="1169" y="176"/>
                  <a:pt x="1171" y="190"/>
                </a:cubicBezTo>
                <a:cubicBezTo>
                  <a:pt x="1162" y="188"/>
                  <a:pt x="1155" y="172"/>
                  <a:pt x="1147" y="184"/>
                </a:cubicBezTo>
                <a:cubicBezTo>
                  <a:pt x="1136" y="202"/>
                  <a:pt x="1123" y="189"/>
                  <a:pt x="1111" y="194"/>
                </a:cubicBezTo>
                <a:cubicBezTo>
                  <a:pt x="1112" y="192"/>
                  <a:pt x="1112" y="191"/>
                  <a:pt x="1113" y="191"/>
                </a:cubicBezTo>
                <a:cubicBezTo>
                  <a:pt x="1123" y="192"/>
                  <a:pt x="1133" y="187"/>
                  <a:pt x="1138" y="182"/>
                </a:cubicBezTo>
                <a:cubicBezTo>
                  <a:pt x="1142" y="178"/>
                  <a:pt x="1132" y="168"/>
                  <a:pt x="1128" y="161"/>
                </a:cubicBezTo>
                <a:cubicBezTo>
                  <a:pt x="1120" y="148"/>
                  <a:pt x="1113" y="152"/>
                  <a:pt x="1106" y="161"/>
                </a:cubicBezTo>
                <a:cubicBezTo>
                  <a:pt x="1102" y="166"/>
                  <a:pt x="1097" y="172"/>
                  <a:pt x="1091" y="170"/>
                </a:cubicBezTo>
                <a:cubicBezTo>
                  <a:pt x="1079" y="165"/>
                  <a:pt x="1074" y="171"/>
                  <a:pt x="1070" y="185"/>
                </a:cubicBezTo>
                <a:cubicBezTo>
                  <a:pt x="1068" y="171"/>
                  <a:pt x="1056" y="175"/>
                  <a:pt x="1053" y="165"/>
                </a:cubicBezTo>
                <a:cubicBezTo>
                  <a:pt x="1051" y="158"/>
                  <a:pt x="1053" y="146"/>
                  <a:pt x="1041" y="144"/>
                </a:cubicBezTo>
                <a:cubicBezTo>
                  <a:pt x="1038" y="144"/>
                  <a:pt x="1039" y="141"/>
                  <a:pt x="1041" y="139"/>
                </a:cubicBezTo>
                <a:cubicBezTo>
                  <a:pt x="1049" y="134"/>
                  <a:pt x="1043" y="130"/>
                  <a:pt x="1039" y="126"/>
                </a:cubicBezTo>
                <a:cubicBezTo>
                  <a:pt x="1031" y="118"/>
                  <a:pt x="1020" y="119"/>
                  <a:pt x="1010" y="118"/>
                </a:cubicBezTo>
                <a:cubicBezTo>
                  <a:pt x="998" y="117"/>
                  <a:pt x="991" y="110"/>
                  <a:pt x="993" y="102"/>
                </a:cubicBezTo>
                <a:cubicBezTo>
                  <a:pt x="996" y="88"/>
                  <a:pt x="990" y="82"/>
                  <a:pt x="977" y="77"/>
                </a:cubicBezTo>
                <a:cubicBezTo>
                  <a:pt x="987" y="73"/>
                  <a:pt x="991" y="81"/>
                  <a:pt x="997" y="81"/>
                </a:cubicBezTo>
                <a:cubicBezTo>
                  <a:pt x="1000" y="81"/>
                  <a:pt x="1004" y="83"/>
                  <a:pt x="1007" y="79"/>
                </a:cubicBezTo>
                <a:cubicBezTo>
                  <a:pt x="1009" y="76"/>
                  <a:pt x="1006" y="74"/>
                  <a:pt x="1005" y="71"/>
                </a:cubicBezTo>
                <a:cubicBezTo>
                  <a:pt x="1002" y="67"/>
                  <a:pt x="999" y="61"/>
                  <a:pt x="1002" y="57"/>
                </a:cubicBezTo>
                <a:cubicBezTo>
                  <a:pt x="1005" y="53"/>
                  <a:pt x="1008" y="50"/>
                  <a:pt x="1003" y="46"/>
                </a:cubicBezTo>
                <a:cubicBezTo>
                  <a:pt x="999" y="43"/>
                  <a:pt x="994" y="43"/>
                  <a:pt x="989" y="46"/>
                </a:cubicBezTo>
                <a:cubicBezTo>
                  <a:pt x="978" y="53"/>
                  <a:pt x="976" y="66"/>
                  <a:pt x="971" y="77"/>
                </a:cubicBezTo>
                <a:cubicBezTo>
                  <a:pt x="968" y="83"/>
                  <a:pt x="971" y="90"/>
                  <a:pt x="961" y="92"/>
                </a:cubicBezTo>
                <a:cubicBezTo>
                  <a:pt x="951" y="93"/>
                  <a:pt x="944" y="91"/>
                  <a:pt x="941" y="80"/>
                </a:cubicBezTo>
                <a:cubicBezTo>
                  <a:pt x="939" y="73"/>
                  <a:pt x="937" y="67"/>
                  <a:pt x="932" y="61"/>
                </a:cubicBezTo>
                <a:cubicBezTo>
                  <a:pt x="927" y="55"/>
                  <a:pt x="922" y="52"/>
                  <a:pt x="916" y="61"/>
                </a:cubicBezTo>
                <a:cubicBezTo>
                  <a:pt x="915" y="62"/>
                  <a:pt x="916" y="66"/>
                  <a:pt x="913" y="65"/>
                </a:cubicBezTo>
                <a:cubicBezTo>
                  <a:pt x="896" y="63"/>
                  <a:pt x="891" y="79"/>
                  <a:pt x="881" y="87"/>
                </a:cubicBezTo>
                <a:cubicBezTo>
                  <a:pt x="878" y="89"/>
                  <a:pt x="876" y="94"/>
                  <a:pt x="878" y="97"/>
                </a:cubicBezTo>
                <a:cubicBezTo>
                  <a:pt x="889" y="107"/>
                  <a:pt x="880" y="110"/>
                  <a:pt x="872" y="113"/>
                </a:cubicBezTo>
                <a:cubicBezTo>
                  <a:pt x="871" y="114"/>
                  <a:pt x="868" y="116"/>
                  <a:pt x="868" y="117"/>
                </a:cubicBezTo>
                <a:cubicBezTo>
                  <a:pt x="868" y="134"/>
                  <a:pt x="861" y="128"/>
                  <a:pt x="850" y="126"/>
                </a:cubicBezTo>
                <a:cubicBezTo>
                  <a:pt x="835" y="124"/>
                  <a:pt x="831" y="121"/>
                  <a:pt x="839" y="108"/>
                </a:cubicBezTo>
                <a:cubicBezTo>
                  <a:pt x="841" y="103"/>
                  <a:pt x="846" y="98"/>
                  <a:pt x="841" y="94"/>
                </a:cubicBezTo>
                <a:cubicBezTo>
                  <a:pt x="837" y="89"/>
                  <a:pt x="831" y="92"/>
                  <a:pt x="825" y="95"/>
                </a:cubicBezTo>
                <a:cubicBezTo>
                  <a:pt x="812" y="103"/>
                  <a:pt x="811" y="107"/>
                  <a:pt x="821" y="119"/>
                </a:cubicBezTo>
                <a:cubicBezTo>
                  <a:pt x="824" y="123"/>
                  <a:pt x="826" y="127"/>
                  <a:pt x="828" y="132"/>
                </a:cubicBezTo>
                <a:cubicBezTo>
                  <a:pt x="832" y="141"/>
                  <a:pt x="836" y="150"/>
                  <a:pt x="819" y="149"/>
                </a:cubicBezTo>
                <a:cubicBezTo>
                  <a:pt x="814" y="148"/>
                  <a:pt x="808" y="153"/>
                  <a:pt x="806" y="158"/>
                </a:cubicBezTo>
                <a:cubicBezTo>
                  <a:pt x="803" y="164"/>
                  <a:pt x="812" y="163"/>
                  <a:pt x="814" y="166"/>
                </a:cubicBezTo>
                <a:cubicBezTo>
                  <a:pt x="817" y="170"/>
                  <a:pt x="821" y="175"/>
                  <a:pt x="823" y="180"/>
                </a:cubicBezTo>
                <a:cubicBezTo>
                  <a:pt x="828" y="193"/>
                  <a:pt x="836" y="188"/>
                  <a:pt x="844" y="185"/>
                </a:cubicBezTo>
                <a:cubicBezTo>
                  <a:pt x="852" y="181"/>
                  <a:pt x="839" y="170"/>
                  <a:pt x="848" y="169"/>
                </a:cubicBezTo>
                <a:cubicBezTo>
                  <a:pt x="858" y="168"/>
                  <a:pt x="844" y="182"/>
                  <a:pt x="855" y="184"/>
                </a:cubicBezTo>
                <a:cubicBezTo>
                  <a:pt x="863" y="185"/>
                  <a:pt x="868" y="192"/>
                  <a:pt x="877" y="195"/>
                </a:cubicBezTo>
                <a:cubicBezTo>
                  <a:pt x="870" y="202"/>
                  <a:pt x="864" y="207"/>
                  <a:pt x="858" y="212"/>
                </a:cubicBezTo>
                <a:cubicBezTo>
                  <a:pt x="853" y="194"/>
                  <a:pt x="849" y="192"/>
                  <a:pt x="833" y="205"/>
                </a:cubicBezTo>
                <a:cubicBezTo>
                  <a:pt x="827" y="209"/>
                  <a:pt x="829" y="203"/>
                  <a:pt x="827" y="203"/>
                </a:cubicBezTo>
                <a:cubicBezTo>
                  <a:pt x="819" y="199"/>
                  <a:pt x="827" y="184"/>
                  <a:pt x="817" y="186"/>
                </a:cubicBezTo>
                <a:cubicBezTo>
                  <a:pt x="805" y="188"/>
                  <a:pt x="803" y="183"/>
                  <a:pt x="802" y="173"/>
                </a:cubicBezTo>
                <a:cubicBezTo>
                  <a:pt x="801" y="168"/>
                  <a:pt x="796" y="166"/>
                  <a:pt x="791" y="165"/>
                </a:cubicBezTo>
                <a:cubicBezTo>
                  <a:pt x="788" y="164"/>
                  <a:pt x="784" y="167"/>
                  <a:pt x="784" y="170"/>
                </a:cubicBezTo>
                <a:cubicBezTo>
                  <a:pt x="787" y="180"/>
                  <a:pt x="780" y="177"/>
                  <a:pt x="776" y="177"/>
                </a:cubicBezTo>
                <a:cubicBezTo>
                  <a:pt x="773" y="178"/>
                  <a:pt x="768" y="179"/>
                  <a:pt x="771" y="183"/>
                </a:cubicBezTo>
                <a:cubicBezTo>
                  <a:pt x="773" y="188"/>
                  <a:pt x="772" y="190"/>
                  <a:pt x="767" y="189"/>
                </a:cubicBezTo>
                <a:cubicBezTo>
                  <a:pt x="760" y="189"/>
                  <a:pt x="754" y="187"/>
                  <a:pt x="751" y="181"/>
                </a:cubicBezTo>
                <a:cubicBezTo>
                  <a:pt x="749" y="177"/>
                  <a:pt x="748" y="174"/>
                  <a:pt x="754" y="172"/>
                </a:cubicBezTo>
                <a:cubicBezTo>
                  <a:pt x="763" y="170"/>
                  <a:pt x="762" y="165"/>
                  <a:pt x="755" y="161"/>
                </a:cubicBezTo>
                <a:cubicBezTo>
                  <a:pt x="751" y="157"/>
                  <a:pt x="753" y="153"/>
                  <a:pt x="752" y="150"/>
                </a:cubicBezTo>
                <a:cubicBezTo>
                  <a:pt x="745" y="135"/>
                  <a:pt x="754" y="117"/>
                  <a:pt x="744" y="102"/>
                </a:cubicBezTo>
                <a:cubicBezTo>
                  <a:pt x="740" y="104"/>
                  <a:pt x="736" y="106"/>
                  <a:pt x="733" y="110"/>
                </a:cubicBezTo>
                <a:cubicBezTo>
                  <a:pt x="725" y="119"/>
                  <a:pt x="707" y="125"/>
                  <a:pt x="725" y="142"/>
                </a:cubicBezTo>
                <a:cubicBezTo>
                  <a:pt x="729" y="146"/>
                  <a:pt x="725" y="153"/>
                  <a:pt x="723" y="157"/>
                </a:cubicBezTo>
                <a:cubicBezTo>
                  <a:pt x="720" y="162"/>
                  <a:pt x="712" y="161"/>
                  <a:pt x="707" y="162"/>
                </a:cubicBezTo>
                <a:cubicBezTo>
                  <a:pt x="706" y="162"/>
                  <a:pt x="704" y="160"/>
                  <a:pt x="704" y="159"/>
                </a:cubicBezTo>
                <a:cubicBezTo>
                  <a:pt x="704" y="152"/>
                  <a:pt x="708" y="151"/>
                  <a:pt x="713" y="151"/>
                </a:cubicBezTo>
                <a:cubicBezTo>
                  <a:pt x="717" y="151"/>
                  <a:pt x="719" y="148"/>
                  <a:pt x="718" y="144"/>
                </a:cubicBezTo>
                <a:cubicBezTo>
                  <a:pt x="718" y="141"/>
                  <a:pt x="715" y="139"/>
                  <a:pt x="711" y="139"/>
                </a:cubicBezTo>
                <a:cubicBezTo>
                  <a:pt x="703" y="139"/>
                  <a:pt x="696" y="140"/>
                  <a:pt x="689" y="148"/>
                </a:cubicBezTo>
                <a:cubicBezTo>
                  <a:pt x="681" y="158"/>
                  <a:pt x="671" y="170"/>
                  <a:pt x="654" y="158"/>
                </a:cubicBezTo>
                <a:cubicBezTo>
                  <a:pt x="645" y="151"/>
                  <a:pt x="636" y="155"/>
                  <a:pt x="632" y="166"/>
                </a:cubicBezTo>
                <a:cubicBezTo>
                  <a:pt x="628" y="176"/>
                  <a:pt x="631" y="185"/>
                  <a:pt x="643" y="188"/>
                </a:cubicBezTo>
                <a:cubicBezTo>
                  <a:pt x="649" y="190"/>
                  <a:pt x="654" y="192"/>
                  <a:pt x="660" y="194"/>
                </a:cubicBezTo>
                <a:cubicBezTo>
                  <a:pt x="661" y="200"/>
                  <a:pt x="654" y="202"/>
                  <a:pt x="655" y="207"/>
                </a:cubicBezTo>
                <a:cubicBezTo>
                  <a:pt x="657" y="220"/>
                  <a:pt x="647" y="220"/>
                  <a:pt x="641" y="218"/>
                </a:cubicBezTo>
                <a:cubicBezTo>
                  <a:pt x="625" y="214"/>
                  <a:pt x="626" y="222"/>
                  <a:pt x="629" y="232"/>
                </a:cubicBezTo>
                <a:cubicBezTo>
                  <a:pt x="631" y="241"/>
                  <a:pt x="627" y="248"/>
                  <a:pt x="620" y="245"/>
                </a:cubicBezTo>
                <a:cubicBezTo>
                  <a:pt x="611" y="242"/>
                  <a:pt x="602" y="249"/>
                  <a:pt x="594" y="242"/>
                </a:cubicBezTo>
                <a:cubicBezTo>
                  <a:pt x="589" y="238"/>
                  <a:pt x="585" y="243"/>
                  <a:pt x="582" y="246"/>
                </a:cubicBezTo>
                <a:cubicBezTo>
                  <a:pt x="570" y="260"/>
                  <a:pt x="571" y="276"/>
                  <a:pt x="583" y="288"/>
                </a:cubicBezTo>
                <a:cubicBezTo>
                  <a:pt x="584" y="289"/>
                  <a:pt x="584" y="291"/>
                  <a:pt x="584" y="292"/>
                </a:cubicBezTo>
                <a:cubicBezTo>
                  <a:pt x="581" y="300"/>
                  <a:pt x="588" y="310"/>
                  <a:pt x="579" y="317"/>
                </a:cubicBezTo>
                <a:cubicBezTo>
                  <a:pt x="575" y="321"/>
                  <a:pt x="578" y="326"/>
                  <a:pt x="580" y="330"/>
                </a:cubicBezTo>
                <a:cubicBezTo>
                  <a:pt x="590" y="345"/>
                  <a:pt x="602" y="360"/>
                  <a:pt x="580" y="376"/>
                </a:cubicBezTo>
                <a:cubicBezTo>
                  <a:pt x="578" y="377"/>
                  <a:pt x="577" y="381"/>
                  <a:pt x="578" y="384"/>
                </a:cubicBezTo>
                <a:cubicBezTo>
                  <a:pt x="579" y="387"/>
                  <a:pt x="581" y="387"/>
                  <a:pt x="583" y="386"/>
                </a:cubicBezTo>
                <a:cubicBezTo>
                  <a:pt x="588" y="384"/>
                  <a:pt x="593" y="378"/>
                  <a:pt x="596" y="387"/>
                </a:cubicBezTo>
                <a:cubicBezTo>
                  <a:pt x="599" y="394"/>
                  <a:pt x="591" y="395"/>
                  <a:pt x="587" y="397"/>
                </a:cubicBezTo>
                <a:cubicBezTo>
                  <a:pt x="575" y="405"/>
                  <a:pt x="574" y="414"/>
                  <a:pt x="585" y="423"/>
                </a:cubicBezTo>
                <a:cubicBezTo>
                  <a:pt x="589" y="427"/>
                  <a:pt x="589" y="431"/>
                  <a:pt x="588" y="436"/>
                </a:cubicBezTo>
                <a:cubicBezTo>
                  <a:pt x="584" y="453"/>
                  <a:pt x="588" y="470"/>
                  <a:pt x="587" y="487"/>
                </a:cubicBezTo>
                <a:cubicBezTo>
                  <a:pt x="587" y="489"/>
                  <a:pt x="589" y="491"/>
                  <a:pt x="591" y="492"/>
                </a:cubicBezTo>
                <a:cubicBezTo>
                  <a:pt x="592" y="493"/>
                  <a:pt x="593" y="492"/>
                  <a:pt x="594" y="490"/>
                </a:cubicBezTo>
                <a:cubicBezTo>
                  <a:pt x="598" y="475"/>
                  <a:pt x="604" y="488"/>
                  <a:pt x="604" y="490"/>
                </a:cubicBezTo>
                <a:cubicBezTo>
                  <a:pt x="606" y="499"/>
                  <a:pt x="613" y="502"/>
                  <a:pt x="619" y="503"/>
                </a:cubicBezTo>
                <a:cubicBezTo>
                  <a:pt x="637" y="505"/>
                  <a:pt x="654" y="512"/>
                  <a:pt x="658" y="530"/>
                </a:cubicBezTo>
                <a:cubicBezTo>
                  <a:pt x="660" y="541"/>
                  <a:pt x="674" y="551"/>
                  <a:pt x="663" y="564"/>
                </a:cubicBezTo>
                <a:cubicBezTo>
                  <a:pt x="661" y="567"/>
                  <a:pt x="659" y="573"/>
                  <a:pt x="664" y="576"/>
                </a:cubicBezTo>
                <a:cubicBezTo>
                  <a:pt x="668" y="579"/>
                  <a:pt x="671" y="576"/>
                  <a:pt x="674" y="572"/>
                </a:cubicBezTo>
                <a:cubicBezTo>
                  <a:pt x="677" y="569"/>
                  <a:pt x="682" y="568"/>
                  <a:pt x="687" y="568"/>
                </a:cubicBezTo>
                <a:cubicBezTo>
                  <a:pt x="690" y="567"/>
                  <a:pt x="695" y="573"/>
                  <a:pt x="692" y="575"/>
                </a:cubicBezTo>
                <a:cubicBezTo>
                  <a:pt x="675" y="586"/>
                  <a:pt x="696" y="594"/>
                  <a:pt x="693" y="603"/>
                </a:cubicBezTo>
                <a:cubicBezTo>
                  <a:pt x="699" y="598"/>
                  <a:pt x="707" y="596"/>
                  <a:pt x="704" y="586"/>
                </a:cubicBezTo>
                <a:cubicBezTo>
                  <a:pt x="703" y="582"/>
                  <a:pt x="707" y="582"/>
                  <a:pt x="709" y="583"/>
                </a:cubicBezTo>
                <a:cubicBezTo>
                  <a:pt x="718" y="588"/>
                  <a:pt x="707" y="597"/>
                  <a:pt x="712" y="603"/>
                </a:cubicBezTo>
                <a:cubicBezTo>
                  <a:pt x="714" y="606"/>
                  <a:pt x="710" y="611"/>
                  <a:pt x="708" y="610"/>
                </a:cubicBezTo>
                <a:cubicBezTo>
                  <a:pt x="696" y="603"/>
                  <a:pt x="690" y="618"/>
                  <a:pt x="679" y="613"/>
                </a:cubicBezTo>
                <a:cubicBezTo>
                  <a:pt x="680" y="619"/>
                  <a:pt x="683" y="623"/>
                  <a:pt x="687" y="626"/>
                </a:cubicBezTo>
                <a:cubicBezTo>
                  <a:pt x="698" y="637"/>
                  <a:pt x="697" y="639"/>
                  <a:pt x="683" y="646"/>
                </a:cubicBezTo>
                <a:cubicBezTo>
                  <a:pt x="675" y="650"/>
                  <a:pt x="656" y="648"/>
                  <a:pt x="666" y="668"/>
                </a:cubicBezTo>
                <a:cubicBezTo>
                  <a:pt x="667" y="668"/>
                  <a:pt x="665" y="671"/>
                  <a:pt x="664" y="671"/>
                </a:cubicBezTo>
                <a:cubicBezTo>
                  <a:pt x="652" y="677"/>
                  <a:pt x="654" y="684"/>
                  <a:pt x="660" y="693"/>
                </a:cubicBezTo>
                <a:cubicBezTo>
                  <a:pt x="662" y="696"/>
                  <a:pt x="660" y="699"/>
                  <a:pt x="658" y="701"/>
                </a:cubicBezTo>
                <a:cubicBezTo>
                  <a:pt x="656" y="703"/>
                  <a:pt x="653" y="706"/>
                  <a:pt x="651" y="704"/>
                </a:cubicBezTo>
                <a:cubicBezTo>
                  <a:pt x="646" y="699"/>
                  <a:pt x="640" y="694"/>
                  <a:pt x="636" y="688"/>
                </a:cubicBezTo>
                <a:cubicBezTo>
                  <a:pt x="634" y="683"/>
                  <a:pt x="641" y="682"/>
                  <a:pt x="643" y="679"/>
                </a:cubicBezTo>
                <a:cubicBezTo>
                  <a:pt x="647" y="675"/>
                  <a:pt x="649" y="671"/>
                  <a:pt x="644" y="667"/>
                </a:cubicBezTo>
                <a:cubicBezTo>
                  <a:pt x="640" y="663"/>
                  <a:pt x="635" y="654"/>
                  <a:pt x="631" y="660"/>
                </a:cubicBezTo>
                <a:cubicBezTo>
                  <a:pt x="617" y="677"/>
                  <a:pt x="596" y="663"/>
                  <a:pt x="582" y="676"/>
                </a:cubicBezTo>
                <a:cubicBezTo>
                  <a:pt x="583" y="666"/>
                  <a:pt x="584" y="659"/>
                  <a:pt x="576" y="654"/>
                </a:cubicBezTo>
                <a:cubicBezTo>
                  <a:pt x="593" y="641"/>
                  <a:pt x="562" y="620"/>
                  <a:pt x="584" y="608"/>
                </a:cubicBezTo>
                <a:cubicBezTo>
                  <a:pt x="583" y="606"/>
                  <a:pt x="582" y="605"/>
                  <a:pt x="581" y="604"/>
                </a:cubicBezTo>
                <a:cubicBezTo>
                  <a:pt x="573" y="589"/>
                  <a:pt x="565" y="589"/>
                  <a:pt x="553" y="607"/>
                </a:cubicBezTo>
                <a:cubicBezTo>
                  <a:pt x="543" y="597"/>
                  <a:pt x="532" y="590"/>
                  <a:pt x="520" y="588"/>
                </a:cubicBezTo>
                <a:cubicBezTo>
                  <a:pt x="524" y="578"/>
                  <a:pt x="529" y="569"/>
                  <a:pt x="530" y="559"/>
                </a:cubicBezTo>
                <a:cubicBezTo>
                  <a:pt x="531" y="554"/>
                  <a:pt x="525" y="546"/>
                  <a:pt x="518" y="555"/>
                </a:cubicBezTo>
                <a:cubicBezTo>
                  <a:pt x="515" y="559"/>
                  <a:pt x="513" y="557"/>
                  <a:pt x="511" y="556"/>
                </a:cubicBezTo>
                <a:cubicBezTo>
                  <a:pt x="505" y="553"/>
                  <a:pt x="511" y="552"/>
                  <a:pt x="512" y="549"/>
                </a:cubicBezTo>
                <a:cubicBezTo>
                  <a:pt x="513" y="545"/>
                  <a:pt x="518" y="542"/>
                  <a:pt x="514" y="538"/>
                </a:cubicBezTo>
                <a:cubicBezTo>
                  <a:pt x="509" y="532"/>
                  <a:pt x="506" y="528"/>
                  <a:pt x="512" y="520"/>
                </a:cubicBezTo>
                <a:cubicBezTo>
                  <a:pt x="514" y="518"/>
                  <a:pt x="512" y="514"/>
                  <a:pt x="509" y="512"/>
                </a:cubicBezTo>
                <a:cubicBezTo>
                  <a:pt x="503" y="507"/>
                  <a:pt x="499" y="502"/>
                  <a:pt x="508" y="494"/>
                </a:cubicBezTo>
                <a:cubicBezTo>
                  <a:pt x="514" y="489"/>
                  <a:pt x="510" y="484"/>
                  <a:pt x="504" y="484"/>
                </a:cubicBezTo>
                <a:cubicBezTo>
                  <a:pt x="498" y="483"/>
                  <a:pt x="487" y="474"/>
                  <a:pt x="486" y="490"/>
                </a:cubicBezTo>
                <a:cubicBezTo>
                  <a:pt x="486" y="493"/>
                  <a:pt x="482" y="493"/>
                  <a:pt x="479" y="493"/>
                </a:cubicBezTo>
                <a:cubicBezTo>
                  <a:pt x="459" y="495"/>
                  <a:pt x="459" y="494"/>
                  <a:pt x="452" y="471"/>
                </a:cubicBezTo>
                <a:cubicBezTo>
                  <a:pt x="456" y="469"/>
                  <a:pt x="461" y="470"/>
                  <a:pt x="465" y="471"/>
                </a:cubicBezTo>
                <a:cubicBezTo>
                  <a:pt x="468" y="472"/>
                  <a:pt x="473" y="469"/>
                  <a:pt x="471" y="468"/>
                </a:cubicBezTo>
                <a:cubicBezTo>
                  <a:pt x="460" y="456"/>
                  <a:pt x="464" y="442"/>
                  <a:pt x="461" y="429"/>
                </a:cubicBezTo>
                <a:cubicBezTo>
                  <a:pt x="460" y="424"/>
                  <a:pt x="456" y="418"/>
                  <a:pt x="449" y="417"/>
                </a:cubicBezTo>
                <a:cubicBezTo>
                  <a:pt x="446" y="416"/>
                  <a:pt x="443" y="414"/>
                  <a:pt x="443" y="411"/>
                </a:cubicBezTo>
                <a:cubicBezTo>
                  <a:pt x="441" y="389"/>
                  <a:pt x="422" y="394"/>
                  <a:pt x="409" y="390"/>
                </a:cubicBezTo>
                <a:cubicBezTo>
                  <a:pt x="404" y="388"/>
                  <a:pt x="398" y="394"/>
                  <a:pt x="395" y="399"/>
                </a:cubicBezTo>
                <a:cubicBezTo>
                  <a:pt x="392" y="405"/>
                  <a:pt x="400" y="405"/>
                  <a:pt x="402" y="409"/>
                </a:cubicBezTo>
                <a:cubicBezTo>
                  <a:pt x="408" y="416"/>
                  <a:pt x="413" y="424"/>
                  <a:pt x="418" y="432"/>
                </a:cubicBezTo>
                <a:cubicBezTo>
                  <a:pt x="409" y="434"/>
                  <a:pt x="404" y="423"/>
                  <a:pt x="396" y="428"/>
                </a:cubicBezTo>
                <a:cubicBezTo>
                  <a:pt x="391" y="432"/>
                  <a:pt x="392" y="458"/>
                  <a:pt x="398" y="462"/>
                </a:cubicBezTo>
                <a:cubicBezTo>
                  <a:pt x="406" y="466"/>
                  <a:pt x="410" y="473"/>
                  <a:pt x="403" y="480"/>
                </a:cubicBezTo>
                <a:cubicBezTo>
                  <a:pt x="394" y="488"/>
                  <a:pt x="400" y="491"/>
                  <a:pt x="406" y="496"/>
                </a:cubicBezTo>
                <a:cubicBezTo>
                  <a:pt x="423" y="509"/>
                  <a:pt x="422" y="520"/>
                  <a:pt x="405" y="529"/>
                </a:cubicBezTo>
                <a:cubicBezTo>
                  <a:pt x="396" y="534"/>
                  <a:pt x="396" y="537"/>
                  <a:pt x="402" y="546"/>
                </a:cubicBezTo>
                <a:cubicBezTo>
                  <a:pt x="407" y="554"/>
                  <a:pt x="420" y="559"/>
                  <a:pt x="419" y="569"/>
                </a:cubicBezTo>
                <a:cubicBezTo>
                  <a:pt x="419" y="578"/>
                  <a:pt x="421" y="587"/>
                  <a:pt x="422" y="595"/>
                </a:cubicBezTo>
                <a:cubicBezTo>
                  <a:pt x="422" y="602"/>
                  <a:pt x="424" y="609"/>
                  <a:pt x="419" y="613"/>
                </a:cubicBezTo>
                <a:cubicBezTo>
                  <a:pt x="414" y="616"/>
                  <a:pt x="409" y="610"/>
                  <a:pt x="404" y="608"/>
                </a:cubicBezTo>
                <a:cubicBezTo>
                  <a:pt x="395" y="605"/>
                  <a:pt x="397" y="588"/>
                  <a:pt x="383" y="590"/>
                </a:cubicBezTo>
                <a:cubicBezTo>
                  <a:pt x="383" y="590"/>
                  <a:pt x="382" y="589"/>
                  <a:pt x="382" y="588"/>
                </a:cubicBezTo>
                <a:cubicBezTo>
                  <a:pt x="385" y="570"/>
                  <a:pt x="374" y="558"/>
                  <a:pt x="364" y="546"/>
                </a:cubicBezTo>
                <a:cubicBezTo>
                  <a:pt x="362" y="544"/>
                  <a:pt x="356" y="540"/>
                  <a:pt x="361" y="538"/>
                </a:cubicBezTo>
                <a:cubicBezTo>
                  <a:pt x="370" y="533"/>
                  <a:pt x="363" y="528"/>
                  <a:pt x="362" y="523"/>
                </a:cubicBezTo>
                <a:cubicBezTo>
                  <a:pt x="361" y="519"/>
                  <a:pt x="357" y="516"/>
                  <a:pt x="358" y="512"/>
                </a:cubicBezTo>
                <a:cubicBezTo>
                  <a:pt x="360" y="506"/>
                  <a:pt x="363" y="500"/>
                  <a:pt x="355" y="497"/>
                </a:cubicBezTo>
                <a:cubicBezTo>
                  <a:pt x="347" y="493"/>
                  <a:pt x="342" y="498"/>
                  <a:pt x="337" y="503"/>
                </a:cubicBezTo>
                <a:cubicBezTo>
                  <a:pt x="323" y="518"/>
                  <a:pt x="337" y="531"/>
                  <a:pt x="339" y="544"/>
                </a:cubicBezTo>
                <a:cubicBezTo>
                  <a:pt x="341" y="552"/>
                  <a:pt x="345" y="558"/>
                  <a:pt x="356" y="554"/>
                </a:cubicBezTo>
                <a:cubicBezTo>
                  <a:pt x="354" y="556"/>
                  <a:pt x="352" y="557"/>
                  <a:pt x="351" y="557"/>
                </a:cubicBezTo>
                <a:cubicBezTo>
                  <a:pt x="327" y="557"/>
                  <a:pt x="312" y="575"/>
                  <a:pt x="317" y="599"/>
                </a:cubicBezTo>
                <a:cubicBezTo>
                  <a:pt x="319" y="604"/>
                  <a:pt x="320" y="610"/>
                  <a:pt x="321" y="614"/>
                </a:cubicBezTo>
                <a:cubicBezTo>
                  <a:pt x="326" y="624"/>
                  <a:pt x="333" y="633"/>
                  <a:pt x="341" y="640"/>
                </a:cubicBezTo>
                <a:cubicBezTo>
                  <a:pt x="348" y="646"/>
                  <a:pt x="350" y="633"/>
                  <a:pt x="356" y="633"/>
                </a:cubicBezTo>
                <a:cubicBezTo>
                  <a:pt x="360" y="638"/>
                  <a:pt x="354" y="642"/>
                  <a:pt x="355" y="646"/>
                </a:cubicBezTo>
                <a:cubicBezTo>
                  <a:pt x="356" y="651"/>
                  <a:pt x="356" y="655"/>
                  <a:pt x="362" y="655"/>
                </a:cubicBezTo>
                <a:cubicBezTo>
                  <a:pt x="371" y="654"/>
                  <a:pt x="377" y="661"/>
                  <a:pt x="377" y="667"/>
                </a:cubicBezTo>
                <a:cubicBezTo>
                  <a:pt x="377" y="674"/>
                  <a:pt x="367" y="674"/>
                  <a:pt x="360" y="675"/>
                </a:cubicBezTo>
                <a:cubicBezTo>
                  <a:pt x="359" y="676"/>
                  <a:pt x="357" y="674"/>
                  <a:pt x="356" y="674"/>
                </a:cubicBezTo>
                <a:cubicBezTo>
                  <a:pt x="350" y="673"/>
                  <a:pt x="346" y="676"/>
                  <a:pt x="346" y="682"/>
                </a:cubicBezTo>
                <a:cubicBezTo>
                  <a:pt x="346" y="687"/>
                  <a:pt x="347" y="693"/>
                  <a:pt x="354" y="693"/>
                </a:cubicBezTo>
                <a:cubicBezTo>
                  <a:pt x="358" y="693"/>
                  <a:pt x="360" y="691"/>
                  <a:pt x="362" y="697"/>
                </a:cubicBezTo>
                <a:cubicBezTo>
                  <a:pt x="364" y="705"/>
                  <a:pt x="368" y="704"/>
                  <a:pt x="372" y="697"/>
                </a:cubicBezTo>
                <a:cubicBezTo>
                  <a:pt x="375" y="693"/>
                  <a:pt x="380" y="693"/>
                  <a:pt x="380" y="696"/>
                </a:cubicBezTo>
                <a:cubicBezTo>
                  <a:pt x="378" y="708"/>
                  <a:pt x="395" y="719"/>
                  <a:pt x="380" y="731"/>
                </a:cubicBezTo>
                <a:cubicBezTo>
                  <a:pt x="377" y="734"/>
                  <a:pt x="377" y="738"/>
                  <a:pt x="382" y="740"/>
                </a:cubicBezTo>
                <a:cubicBezTo>
                  <a:pt x="396" y="746"/>
                  <a:pt x="405" y="763"/>
                  <a:pt x="424" y="757"/>
                </a:cubicBezTo>
                <a:cubicBezTo>
                  <a:pt x="420" y="782"/>
                  <a:pt x="403" y="765"/>
                  <a:pt x="392" y="770"/>
                </a:cubicBezTo>
                <a:cubicBezTo>
                  <a:pt x="393" y="766"/>
                  <a:pt x="399" y="765"/>
                  <a:pt x="396" y="760"/>
                </a:cubicBezTo>
                <a:cubicBezTo>
                  <a:pt x="393" y="758"/>
                  <a:pt x="390" y="759"/>
                  <a:pt x="387" y="760"/>
                </a:cubicBezTo>
                <a:cubicBezTo>
                  <a:pt x="383" y="761"/>
                  <a:pt x="380" y="763"/>
                  <a:pt x="379" y="767"/>
                </a:cubicBezTo>
                <a:cubicBezTo>
                  <a:pt x="377" y="771"/>
                  <a:pt x="376" y="774"/>
                  <a:pt x="370" y="773"/>
                </a:cubicBezTo>
                <a:cubicBezTo>
                  <a:pt x="363" y="771"/>
                  <a:pt x="367" y="767"/>
                  <a:pt x="366" y="765"/>
                </a:cubicBezTo>
                <a:cubicBezTo>
                  <a:pt x="363" y="759"/>
                  <a:pt x="361" y="750"/>
                  <a:pt x="354" y="752"/>
                </a:cubicBezTo>
                <a:cubicBezTo>
                  <a:pt x="346" y="755"/>
                  <a:pt x="347" y="763"/>
                  <a:pt x="350" y="770"/>
                </a:cubicBezTo>
                <a:cubicBezTo>
                  <a:pt x="351" y="771"/>
                  <a:pt x="353" y="772"/>
                  <a:pt x="350" y="774"/>
                </a:cubicBezTo>
                <a:cubicBezTo>
                  <a:pt x="346" y="773"/>
                  <a:pt x="341" y="769"/>
                  <a:pt x="338" y="774"/>
                </a:cubicBezTo>
                <a:cubicBezTo>
                  <a:pt x="335" y="780"/>
                  <a:pt x="341" y="783"/>
                  <a:pt x="344" y="786"/>
                </a:cubicBezTo>
                <a:cubicBezTo>
                  <a:pt x="347" y="789"/>
                  <a:pt x="349" y="792"/>
                  <a:pt x="354" y="792"/>
                </a:cubicBezTo>
                <a:cubicBezTo>
                  <a:pt x="360" y="792"/>
                  <a:pt x="359" y="796"/>
                  <a:pt x="357" y="799"/>
                </a:cubicBezTo>
                <a:cubicBezTo>
                  <a:pt x="346" y="799"/>
                  <a:pt x="340" y="778"/>
                  <a:pt x="326" y="792"/>
                </a:cubicBezTo>
                <a:cubicBezTo>
                  <a:pt x="321" y="798"/>
                  <a:pt x="321" y="807"/>
                  <a:pt x="327" y="812"/>
                </a:cubicBezTo>
                <a:cubicBezTo>
                  <a:pt x="336" y="821"/>
                  <a:pt x="345" y="819"/>
                  <a:pt x="352" y="805"/>
                </a:cubicBezTo>
                <a:cubicBezTo>
                  <a:pt x="356" y="816"/>
                  <a:pt x="353" y="828"/>
                  <a:pt x="363" y="833"/>
                </a:cubicBezTo>
                <a:cubicBezTo>
                  <a:pt x="372" y="838"/>
                  <a:pt x="370" y="842"/>
                  <a:pt x="363" y="846"/>
                </a:cubicBezTo>
                <a:cubicBezTo>
                  <a:pt x="359" y="849"/>
                  <a:pt x="357" y="853"/>
                  <a:pt x="355" y="856"/>
                </a:cubicBezTo>
                <a:cubicBezTo>
                  <a:pt x="352" y="859"/>
                  <a:pt x="347" y="862"/>
                  <a:pt x="344" y="857"/>
                </a:cubicBezTo>
                <a:cubicBezTo>
                  <a:pt x="335" y="840"/>
                  <a:pt x="328" y="842"/>
                  <a:pt x="320" y="858"/>
                </a:cubicBezTo>
                <a:cubicBezTo>
                  <a:pt x="317" y="864"/>
                  <a:pt x="311" y="862"/>
                  <a:pt x="308" y="862"/>
                </a:cubicBezTo>
                <a:cubicBezTo>
                  <a:pt x="302" y="861"/>
                  <a:pt x="303" y="853"/>
                  <a:pt x="302" y="849"/>
                </a:cubicBezTo>
                <a:cubicBezTo>
                  <a:pt x="300" y="844"/>
                  <a:pt x="306" y="845"/>
                  <a:pt x="309" y="843"/>
                </a:cubicBezTo>
                <a:cubicBezTo>
                  <a:pt x="320" y="837"/>
                  <a:pt x="329" y="842"/>
                  <a:pt x="339" y="845"/>
                </a:cubicBezTo>
                <a:cubicBezTo>
                  <a:pt x="343" y="846"/>
                  <a:pt x="347" y="847"/>
                  <a:pt x="349" y="843"/>
                </a:cubicBezTo>
                <a:cubicBezTo>
                  <a:pt x="351" y="840"/>
                  <a:pt x="349" y="837"/>
                  <a:pt x="347" y="833"/>
                </a:cubicBezTo>
                <a:cubicBezTo>
                  <a:pt x="344" y="830"/>
                  <a:pt x="342" y="825"/>
                  <a:pt x="336" y="826"/>
                </a:cubicBezTo>
                <a:cubicBezTo>
                  <a:pt x="325" y="826"/>
                  <a:pt x="319" y="822"/>
                  <a:pt x="318" y="811"/>
                </a:cubicBezTo>
                <a:cubicBezTo>
                  <a:pt x="318" y="807"/>
                  <a:pt x="315" y="804"/>
                  <a:pt x="311" y="804"/>
                </a:cubicBezTo>
                <a:cubicBezTo>
                  <a:pt x="308" y="804"/>
                  <a:pt x="306" y="805"/>
                  <a:pt x="305" y="808"/>
                </a:cubicBezTo>
                <a:cubicBezTo>
                  <a:pt x="305" y="811"/>
                  <a:pt x="311" y="817"/>
                  <a:pt x="303" y="817"/>
                </a:cubicBezTo>
                <a:cubicBezTo>
                  <a:pt x="297" y="818"/>
                  <a:pt x="299" y="811"/>
                  <a:pt x="298" y="808"/>
                </a:cubicBezTo>
                <a:cubicBezTo>
                  <a:pt x="297" y="804"/>
                  <a:pt x="295" y="800"/>
                  <a:pt x="293" y="796"/>
                </a:cubicBezTo>
                <a:cubicBezTo>
                  <a:pt x="297" y="796"/>
                  <a:pt x="301" y="797"/>
                  <a:pt x="305" y="796"/>
                </a:cubicBezTo>
                <a:cubicBezTo>
                  <a:pt x="309" y="795"/>
                  <a:pt x="317" y="795"/>
                  <a:pt x="316" y="788"/>
                </a:cubicBezTo>
                <a:cubicBezTo>
                  <a:pt x="315" y="783"/>
                  <a:pt x="305" y="781"/>
                  <a:pt x="301" y="783"/>
                </a:cubicBezTo>
                <a:cubicBezTo>
                  <a:pt x="283" y="792"/>
                  <a:pt x="267" y="786"/>
                  <a:pt x="250" y="781"/>
                </a:cubicBezTo>
                <a:cubicBezTo>
                  <a:pt x="240" y="778"/>
                  <a:pt x="231" y="778"/>
                  <a:pt x="239" y="765"/>
                </a:cubicBezTo>
                <a:cubicBezTo>
                  <a:pt x="242" y="760"/>
                  <a:pt x="233" y="758"/>
                  <a:pt x="234" y="753"/>
                </a:cubicBezTo>
                <a:cubicBezTo>
                  <a:pt x="239" y="752"/>
                  <a:pt x="241" y="758"/>
                  <a:pt x="245" y="755"/>
                </a:cubicBezTo>
                <a:cubicBezTo>
                  <a:pt x="248" y="752"/>
                  <a:pt x="245" y="748"/>
                  <a:pt x="244" y="745"/>
                </a:cubicBezTo>
                <a:cubicBezTo>
                  <a:pt x="242" y="742"/>
                  <a:pt x="241" y="739"/>
                  <a:pt x="240" y="737"/>
                </a:cubicBezTo>
                <a:cubicBezTo>
                  <a:pt x="233" y="719"/>
                  <a:pt x="235" y="714"/>
                  <a:pt x="252" y="711"/>
                </a:cubicBezTo>
                <a:cubicBezTo>
                  <a:pt x="259" y="709"/>
                  <a:pt x="263" y="707"/>
                  <a:pt x="261" y="700"/>
                </a:cubicBezTo>
                <a:cubicBezTo>
                  <a:pt x="257" y="686"/>
                  <a:pt x="258" y="673"/>
                  <a:pt x="265" y="661"/>
                </a:cubicBezTo>
                <a:cubicBezTo>
                  <a:pt x="267" y="659"/>
                  <a:pt x="267" y="656"/>
                  <a:pt x="264" y="655"/>
                </a:cubicBezTo>
                <a:cubicBezTo>
                  <a:pt x="251" y="654"/>
                  <a:pt x="248" y="636"/>
                  <a:pt x="233" y="640"/>
                </a:cubicBezTo>
                <a:cubicBezTo>
                  <a:pt x="232" y="640"/>
                  <a:pt x="229" y="631"/>
                  <a:pt x="223" y="637"/>
                </a:cubicBezTo>
                <a:cubicBezTo>
                  <a:pt x="219" y="641"/>
                  <a:pt x="221" y="644"/>
                  <a:pt x="224" y="648"/>
                </a:cubicBezTo>
                <a:cubicBezTo>
                  <a:pt x="230" y="657"/>
                  <a:pt x="230" y="661"/>
                  <a:pt x="217" y="660"/>
                </a:cubicBezTo>
                <a:cubicBezTo>
                  <a:pt x="212" y="660"/>
                  <a:pt x="205" y="661"/>
                  <a:pt x="200" y="664"/>
                </a:cubicBezTo>
                <a:cubicBezTo>
                  <a:pt x="194" y="669"/>
                  <a:pt x="189" y="676"/>
                  <a:pt x="187" y="683"/>
                </a:cubicBezTo>
                <a:cubicBezTo>
                  <a:pt x="186" y="690"/>
                  <a:pt x="197" y="686"/>
                  <a:pt x="200" y="691"/>
                </a:cubicBezTo>
                <a:cubicBezTo>
                  <a:pt x="198" y="693"/>
                  <a:pt x="196" y="693"/>
                  <a:pt x="195" y="695"/>
                </a:cubicBezTo>
                <a:cubicBezTo>
                  <a:pt x="189" y="708"/>
                  <a:pt x="189" y="723"/>
                  <a:pt x="177" y="734"/>
                </a:cubicBezTo>
                <a:cubicBezTo>
                  <a:pt x="168" y="743"/>
                  <a:pt x="182" y="760"/>
                  <a:pt x="168" y="770"/>
                </a:cubicBezTo>
                <a:cubicBezTo>
                  <a:pt x="167" y="770"/>
                  <a:pt x="168" y="772"/>
                  <a:pt x="168" y="773"/>
                </a:cubicBezTo>
                <a:cubicBezTo>
                  <a:pt x="168" y="777"/>
                  <a:pt x="170" y="783"/>
                  <a:pt x="165" y="785"/>
                </a:cubicBezTo>
                <a:cubicBezTo>
                  <a:pt x="159" y="788"/>
                  <a:pt x="156" y="782"/>
                  <a:pt x="152" y="779"/>
                </a:cubicBezTo>
                <a:cubicBezTo>
                  <a:pt x="146" y="775"/>
                  <a:pt x="146" y="769"/>
                  <a:pt x="145" y="763"/>
                </a:cubicBezTo>
                <a:cubicBezTo>
                  <a:pt x="145" y="757"/>
                  <a:pt x="149" y="747"/>
                  <a:pt x="141" y="744"/>
                </a:cubicBezTo>
                <a:cubicBezTo>
                  <a:pt x="123" y="740"/>
                  <a:pt x="134" y="734"/>
                  <a:pt x="140" y="730"/>
                </a:cubicBezTo>
                <a:cubicBezTo>
                  <a:pt x="151" y="723"/>
                  <a:pt x="149" y="716"/>
                  <a:pt x="140" y="710"/>
                </a:cubicBezTo>
                <a:cubicBezTo>
                  <a:pt x="127" y="701"/>
                  <a:pt x="120" y="688"/>
                  <a:pt x="116" y="673"/>
                </a:cubicBezTo>
                <a:cubicBezTo>
                  <a:pt x="114" y="669"/>
                  <a:pt x="91" y="660"/>
                  <a:pt x="91" y="663"/>
                </a:cubicBezTo>
                <a:cubicBezTo>
                  <a:pt x="89" y="673"/>
                  <a:pt x="81" y="683"/>
                  <a:pt x="86" y="693"/>
                </a:cubicBezTo>
                <a:cubicBezTo>
                  <a:pt x="90" y="702"/>
                  <a:pt x="98" y="696"/>
                  <a:pt x="104" y="693"/>
                </a:cubicBezTo>
                <a:cubicBezTo>
                  <a:pt x="108" y="691"/>
                  <a:pt x="112" y="692"/>
                  <a:pt x="113" y="696"/>
                </a:cubicBezTo>
                <a:cubicBezTo>
                  <a:pt x="115" y="700"/>
                  <a:pt x="112" y="701"/>
                  <a:pt x="110" y="702"/>
                </a:cubicBezTo>
                <a:cubicBezTo>
                  <a:pt x="93" y="703"/>
                  <a:pt x="83" y="714"/>
                  <a:pt x="73" y="725"/>
                </a:cubicBezTo>
                <a:cubicBezTo>
                  <a:pt x="70" y="728"/>
                  <a:pt x="66" y="730"/>
                  <a:pt x="67" y="734"/>
                </a:cubicBezTo>
                <a:cubicBezTo>
                  <a:pt x="68" y="738"/>
                  <a:pt x="73" y="741"/>
                  <a:pt x="77" y="740"/>
                </a:cubicBezTo>
                <a:cubicBezTo>
                  <a:pt x="92" y="735"/>
                  <a:pt x="92" y="751"/>
                  <a:pt x="97" y="757"/>
                </a:cubicBezTo>
                <a:cubicBezTo>
                  <a:pt x="101" y="762"/>
                  <a:pt x="90" y="764"/>
                  <a:pt x="86" y="766"/>
                </a:cubicBezTo>
                <a:cubicBezTo>
                  <a:pt x="77" y="771"/>
                  <a:pt x="82" y="779"/>
                  <a:pt x="84" y="783"/>
                </a:cubicBezTo>
                <a:cubicBezTo>
                  <a:pt x="88" y="789"/>
                  <a:pt x="92" y="784"/>
                  <a:pt x="94" y="780"/>
                </a:cubicBezTo>
                <a:cubicBezTo>
                  <a:pt x="97" y="775"/>
                  <a:pt x="104" y="778"/>
                  <a:pt x="104" y="770"/>
                </a:cubicBezTo>
                <a:cubicBezTo>
                  <a:pt x="106" y="778"/>
                  <a:pt x="104" y="788"/>
                  <a:pt x="114" y="790"/>
                </a:cubicBezTo>
                <a:cubicBezTo>
                  <a:pt x="117" y="790"/>
                  <a:pt x="123" y="788"/>
                  <a:pt x="121" y="792"/>
                </a:cubicBezTo>
                <a:cubicBezTo>
                  <a:pt x="118" y="799"/>
                  <a:pt x="125" y="806"/>
                  <a:pt x="120" y="812"/>
                </a:cubicBezTo>
                <a:cubicBezTo>
                  <a:pt x="114" y="805"/>
                  <a:pt x="113" y="819"/>
                  <a:pt x="105" y="815"/>
                </a:cubicBezTo>
                <a:cubicBezTo>
                  <a:pt x="86" y="806"/>
                  <a:pt x="86" y="807"/>
                  <a:pt x="86" y="827"/>
                </a:cubicBezTo>
                <a:cubicBezTo>
                  <a:pt x="86" y="831"/>
                  <a:pt x="84" y="835"/>
                  <a:pt x="90" y="837"/>
                </a:cubicBezTo>
                <a:cubicBezTo>
                  <a:pt x="94" y="838"/>
                  <a:pt x="98" y="838"/>
                  <a:pt x="102" y="834"/>
                </a:cubicBezTo>
                <a:cubicBezTo>
                  <a:pt x="104" y="832"/>
                  <a:pt x="105" y="827"/>
                  <a:pt x="111" y="829"/>
                </a:cubicBezTo>
                <a:cubicBezTo>
                  <a:pt x="113" y="839"/>
                  <a:pt x="107" y="844"/>
                  <a:pt x="97" y="843"/>
                </a:cubicBezTo>
                <a:cubicBezTo>
                  <a:pt x="90" y="843"/>
                  <a:pt x="87" y="845"/>
                  <a:pt x="85" y="851"/>
                </a:cubicBezTo>
                <a:cubicBezTo>
                  <a:pt x="83" y="858"/>
                  <a:pt x="87" y="862"/>
                  <a:pt x="92" y="865"/>
                </a:cubicBezTo>
                <a:cubicBezTo>
                  <a:pt x="97" y="867"/>
                  <a:pt x="101" y="868"/>
                  <a:pt x="106" y="869"/>
                </a:cubicBezTo>
                <a:cubicBezTo>
                  <a:pt x="109" y="870"/>
                  <a:pt x="128" y="899"/>
                  <a:pt x="128" y="902"/>
                </a:cubicBezTo>
                <a:cubicBezTo>
                  <a:pt x="128" y="902"/>
                  <a:pt x="127" y="903"/>
                  <a:pt x="127" y="903"/>
                </a:cubicBezTo>
                <a:cubicBezTo>
                  <a:pt x="122" y="913"/>
                  <a:pt x="122" y="913"/>
                  <a:pt x="132" y="916"/>
                </a:cubicBezTo>
                <a:cubicBezTo>
                  <a:pt x="142" y="920"/>
                  <a:pt x="147" y="937"/>
                  <a:pt x="139" y="943"/>
                </a:cubicBezTo>
                <a:cubicBezTo>
                  <a:pt x="131" y="950"/>
                  <a:pt x="129" y="962"/>
                  <a:pt x="132" y="966"/>
                </a:cubicBezTo>
                <a:cubicBezTo>
                  <a:pt x="137" y="974"/>
                  <a:pt x="146" y="986"/>
                  <a:pt x="161" y="977"/>
                </a:cubicBezTo>
                <a:cubicBezTo>
                  <a:pt x="159" y="975"/>
                  <a:pt x="157" y="973"/>
                  <a:pt x="156" y="971"/>
                </a:cubicBezTo>
                <a:cubicBezTo>
                  <a:pt x="153" y="968"/>
                  <a:pt x="153" y="965"/>
                  <a:pt x="157" y="963"/>
                </a:cubicBezTo>
                <a:cubicBezTo>
                  <a:pt x="158" y="962"/>
                  <a:pt x="160" y="960"/>
                  <a:pt x="162" y="960"/>
                </a:cubicBezTo>
                <a:cubicBezTo>
                  <a:pt x="165" y="961"/>
                  <a:pt x="164" y="965"/>
                  <a:pt x="164" y="968"/>
                </a:cubicBezTo>
                <a:cubicBezTo>
                  <a:pt x="165" y="976"/>
                  <a:pt x="167" y="984"/>
                  <a:pt x="159" y="991"/>
                </a:cubicBezTo>
                <a:cubicBezTo>
                  <a:pt x="155" y="995"/>
                  <a:pt x="157" y="1003"/>
                  <a:pt x="163" y="1009"/>
                </a:cubicBezTo>
                <a:cubicBezTo>
                  <a:pt x="170" y="1014"/>
                  <a:pt x="177" y="1021"/>
                  <a:pt x="183" y="1028"/>
                </a:cubicBezTo>
                <a:cubicBezTo>
                  <a:pt x="184" y="1031"/>
                  <a:pt x="185" y="1034"/>
                  <a:pt x="186" y="1037"/>
                </a:cubicBezTo>
                <a:cubicBezTo>
                  <a:pt x="164" y="1010"/>
                  <a:pt x="171" y="1041"/>
                  <a:pt x="160" y="1041"/>
                </a:cubicBezTo>
                <a:cubicBezTo>
                  <a:pt x="153" y="1041"/>
                  <a:pt x="157" y="1050"/>
                  <a:pt x="159" y="1056"/>
                </a:cubicBezTo>
                <a:cubicBezTo>
                  <a:pt x="160" y="1060"/>
                  <a:pt x="166" y="1067"/>
                  <a:pt x="158" y="1069"/>
                </a:cubicBezTo>
                <a:cubicBezTo>
                  <a:pt x="153" y="1070"/>
                  <a:pt x="147" y="1067"/>
                  <a:pt x="148" y="1075"/>
                </a:cubicBezTo>
                <a:cubicBezTo>
                  <a:pt x="148" y="1080"/>
                  <a:pt x="150" y="1086"/>
                  <a:pt x="155" y="1090"/>
                </a:cubicBezTo>
                <a:cubicBezTo>
                  <a:pt x="165" y="1100"/>
                  <a:pt x="178" y="1103"/>
                  <a:pt x="194" y="1107"/>
                </a:cubicBezTo>
                <a:cubicBezTo>
                  <a:pt x="172" y="1114"/>
                  <a:pt x="172" y="1115"/>
                  <a:pt x="179" y="1135"/>
                </a:cubicBezTo>
                <a:cubicBezTo>
                  <a:pt x="180" y="1137"/>
                  <a:pt x="181" y="1140"/>
                  <a:pt x="181" y="1142"/>
                </a:cubicBezTo>
                <a:cubicBezTo>
                  <a:pt x="179" y="1150"/>
                  <a:pt x="183" y="1157"/>
                  <a:pt x="186" y="1163"/>
                </a:cubicBezTo>
                <a:cubicBezTo>
                  <a:pt x="192" y="1173"/>
                  <a:pt x="198" y="1160"/>
                  <a:pt x="205" y="1161"/>
                </a:cubicBezTo>
                <a:cubicBezTo>
                  <a:pt x="207" y="1161"/>
                  <a:pt x="209" y="1160"/>
                  <a:pt x="211" y="1160"/>
                </a:cubicBezTo>
                <a:cubicBezTo>
                  <a:pt x="218" y="1159"/>
                  <a:pt x="225" y="1159"/>
                  <a:pt x="220" y="1170"/>
                </a:cubicBezTo>
                <a:cubicBezTo>
                  <a:pt x="218" y="1174"/>
                  <a:pt x="225" y="1177"/>
                  <a:pt x="217" y="1183"/>
                </a:cubicBezTo>
                <a:cubicBezTo>
                  <a:pt x="220" y="1168"/>
                  <a:pt x="211" y="1171"/>
                  <a:pt x="203" y="1171"/>
                </a:cubicBezTo>
                <a:cubicBezTo>
                  <a:pt x="199" y="1171"/>
                  <a:pt x="195" y="1171"/>
                  <a:pt x="195" y="1176"/>
                </a:cubicBezTo>
                <a:cubicBezTo>
                  <a:pt x="196" y="1185"/>
                  <a:pt x="203" y="1189"/>
                  <a:pt x="210" y="1191"/>
                </a:cubicBezTo>
                <a:cubicBezTo>
                  <a:pt x="217" y="1192"/>
                  <a:pt x="220" y="1196"/>
                  <a:pt x="223" y="1201"/>
                </a:cubicBezTo>
                <a:cubicBezTo>
                  <a:pt x="213" y="1208"/>
                  <a:pt x="202" y="1206"/>
                  <a:pt x="197" y="1199"/>
                </a:cubicBezTo>
                <a:cubicBezTo>
                  <a:pt x="190" y="1188"/>
                  <a:pt x="175" y="1179"/>
                  <a:pt x="177" y="1162"/>
                </a:cubicBezTo>
                <a:cubicBezTo>
                  <a:pt x="178" y="1150"/>
                  <a:pt x="170" y="1144"/>
                  <a:pt x="159" y="1146"/>
                </a:cubicBezTo>
                <a:cubicBezTo>
                  <a:pt x="142" y="1149"/>
                  <a:pt x="128" y="1183"/>
                  <a:pt x="137" y="1199"/>
                </a:cubicBezTo>
                <a:cubicBezTo>
                  <a:pt x="143" y="1210"/>
                  <a:pt x="157" y="1220"/>
                  <a:pt x="150" y="1235"/>
                </a:cubicBezTo>
                <a:cubicBezTo>
                  <a:pt x="146" y="1243"/>
                  <a:pt x="149" y="1247"/>
                  <a:pt x="154" y="1249"/>
                </a:cubicBezTo>
                <a:cubicBezTo>
                  <a:pt x="161" y="1253"/>
                  <a:pt x="161" y="1245"/>
                  <a:pt x="163" y="1242"/>
                </a:cubicBezTo>
                <a:cubicBezTo>
                  <a:pt x="171" y="1231"/>
                  <a:pt x="189" y="1225"/>
                  <a:pt x="194" y="1232"/>
                </a:cubicBezTo>
                <a:cubicBezTo>
                  <a:pt x="200" y="1240"/>
                  <a:pt x="206" y="1243"/>
                  <a:pt x="218" y="1243"/>
                </a:cubicBezTo>
                <a:cubicBezTo>
                  <a:pt x="210" y="1248"/>
                  <a:pt x="204" y="1245"/>
                  <a:pt x="199" y="1248"/>
                </a:cubicBezTo>
                <a:cubicBezTo>
                  <a:pt x="194" y="1251"/>
                  <a:pt x="190" y="1249"/>
                  <a:pt x="190" y="1242"/>
                </a:cubicBezTo>
                <a:cubicBezTo>
                  <a:pt x="191" y="1232"/>
                  <a:pt x="183" y="1233"/>
                  <a:pt x="177" y="1236"/>
                </a:cubicBezTo>
                <a:cubicBezTo>
                  <a:pt x="164" y="1241"/>
                  <a:pt x="162" y="1252"/>
                  <a:pt x="174" y="1261"/>
                </a:cubicBezTo>
                <a:cubicBezTo>
                  <a:pt x="184" y="1269"/>
                  <a:pt x="194" y="1275"/>
                  <a:pt x="196" y="1289"/>
                </a:cubicBezTo>
                <a:cubicBezTo>
                  <a:pt x="196" y="1291"/>
                  <a:pt x="201" y="1295"/>
                  <a:pt x="203" y="1294"/>
                </a:cubicBezTo>
                <a:cubicBezTo>
                  <a:pt x="207" y="1293"/>
                  <a:pt x="211" y="1290"/>
                  <a:pt x="213" y="1287"/>
                </a:cubicBezTo>
                <a:cubicBezTo>
                  <a:pt x="216" y="1283"/>
                  <a:pt x="212" y="1280"/>
                  <a:pt x="209" y="1278"/>
                </a:cubicBezTo>
                <a:cubicBezTo>
                  <a:pt x="206" y="1276"/>
                  <a:pt x="203" y="1275"/>
                  <a:pt x="198" y="1272"/>
                </a:cubicBezTo>
                <a:cubicBezTo>
                  <a:pt x="213" y="1276"/>
                  <a:pt x="224" y="1274"/>
                  <a:pt x="226" y="1257"/>
                </a:cubicBezTo>
                <a:cubicBezTo>
                  <a:pt x="232" y="1264"/>
                  <a:pt x="219" y="1272"/>
                  <a:pt x="228" y="1276"/>
                </a:cubicBezTo>
                <a:cubicBezTo>
                  <a:pt x="235" y="1280"/>
                  <a:pt x="244" y="1280"/>
                  <a:pt x="252" y="1273"/>
                </a:cubicBezTo>
                <a:cubicBezTo>
                  <a:pt x="256" y="1270"/>
                  <a:pt x="261" y="1270"/>
                  <a:pt x="266" y="1272"/>
                </a:cubicBezTo>
                <a:cubicBezTo>
                  <a:pt x="262" y="1280"/>
                  <a:pt x="252" y="1290"/>
                  <a:pt x="273" y="1288"/>
                </a:cubicBezTo>
                <a:cubicBezTo>
                  <a:pt x="285" y="1286"/>
                  <a:pt x="285" y="1304"/>
                  <a:pt x="296" y="1307"/>
                </a:cubicBezTo>
                <a:cubicBezTo>
                  <a:pt x="299" y="1308"/>
                  <a:pt x="287" y="1310"/>
                  <a:pt x="289" y="1316"/>
                </a:cubicBezTo>
                <a:cubicBezTo>
                  <a:pt x="289" y="1317"/>
                  <a:pt x="287" y="1317"/>
                  <a:pt x="286" y="1318"/>
                </a:cubicBezTo>
                <a:cubicBezTo>
                  <a:pt x="284" y="1316"/>
                  <a:pt x="283" y="1313"/>
                  <a:pt x="281" y="1310"/>
                </a:cubicBezTo>
                <a:cubicBezTo>
                  <a:pt x="279" y="1307"/>
                  <a:pt x="275" y="1306"/>
                  <a:pt x="273" y="1308"/>
                </a:cubicBezTo>
                <a:cubicBezTo>
                  <a:pt x="269" y="1311"/>
                  <a:pt x="270" y="1315"/>
                  <a:pt x="273" y="1318"/>
                </a:cubicBezTo>
                <a:cubicBezTo>
                  <a:pt x="291" y="1332"/>
                  <a:pt x="274" y="1332"/>
                  <a:pt x="265" y="1335"/>
                </a:cubicBezTo>
                <a:cubicBezTo>
                  <a:pt x="259" y="1338"/>
                  <a:pt x="250" y="1337"/>
                  <a:pt x="248" y="1346"/>
                </a:cubicBezTo>
                <a:cubicBezTo>
                  <a:pt x="247" y="1354"/>
                  <a:pt x="242" y="1360"/>
                  <a:pt x="237" y="1365"/>
                </a:cubicBezTo>
                <a:cubicBezTo>
                  <a:pt x="227" y="1376"/>
                  <a:pt x="238" y="1378"/>
                  <a:pt x="244" y="1382"/>
                </a:cubicBezTo>
                <a:cubicBezTo>
                  <a:pt x="233" y="1385"/>
                  <a:pt x="233" y="1392"/>
                  <a:pt x="237" y="1400"/>
                </a:cubicBezTo>
                <a:cubicBezTo>
                  <a:pt x="237" y="1401"/>
                  <a:pt x="237" y="1401"/>
                  <a:pt x="238" y="1401"/>
                </a:cubicBezTo>
                <a:cubicBezTo>
                  <a:pt x="262" y="1405"/>
                  <a:pt x="247" y="1424"/>
                  <a:pt x="251" y="1435"/>
                </a:cubicBezTo>
                <a:cubicBezTo>
                  <a:pt x="251" y="1438"/>
                  <a:pt x="245" y="1443"/>
                  <a:pt x="242" y="1447"/>
                </a:cubicBezTo>
                <a:cubicBezTo>
                  <a:pt x="242" y="1447"/>
                  <a:pt x="239" y="1446"/>
                  <a:pt x="238" y="1445"/>
                </a:cubicBezTo>
                <a:cubicBezTo>
                  <a:pt x="236" y="1439"/>
                  <a:pt x="243" y="1438"/>
                  <a:pt x="243" y="1434"/>
                </a:cubicBezTo>
                <a:cubicBezTo>
                  <a:pt x="244" y="1433"/>
                  <a:pt x="243" y="1432"/>
                  <a:pt x="242" y="1431"/>
                </a:cubicBezTo>
                <a:cubicBezTo>
                  <a:pt x="233" y="1431"/>
                  <a:pt x="221" y="1432"/>
                  <a:pt x="227" y="1445"/>
                </a:cubicBezTo>
                <a:cubicBezTo>
                  <a:pt x="234" y="1458"/>
                  <a:pt x="220" y="1460"/>
                  <a:pt x="217" y="1468"/>
                </a:cubicBezTo>
                <a:cubicBezTo>
                  <a:pt x="216" y="1473"/>
                  <a:pt x="209" y="1467"/>
                  <a:pt x="205" y="1467"/>
                </a:cubicBezTo>
                <a:cubicBezTo>
                  <a:pt x="194" y="1467"/>
                  <a:pt x="189" y="1453"/>
                  <a:pt x="179" y="1455"/>
                </a:cubicBezTo>
                <a:cubicBezTo>
                  <a:pt x="167" y="1457"/>
                  <a:pt x="160" y="1453"/>
                  <a:pt x="154" y="1443"/>
                </a:cubicBezTo>
                <a:cubicBezTo>
                  <a:pt x="148" y="1431"/>
                  <a:pt x="139" y="1432"/>
                  <a:pt x="132" y="1444"/>
                </a:cubicBezTo>
                <a:cubicBezTo>
                  <a:pt x="127" y="1453"/>
                  <a:pt x="113" y="1454"/>
                  <a:pt x="113" y="1467"/>
                </a:cubicBezTo>
                <a:cubicBezTo>
                  <a:pt x="113" y="1471"/>
                  <a:pt x="108" y="1468"/>
                  <a:pt x="106" y="1466"/>
                </a:cubicBezTo>
                <a:cubicBezTo>
                  <a:pt x="103" y="1464"/>
                  <a:pt x="101" y="1458"/>
                  <a:pt x="95" y="1462"/>
                </a:cubicBezTo>
                <a:cubicBezTo>
                  <a:pt x="91" y="1465"/>
                  <a:pt x="90" y="1469"/>
                  <a:pt x="90" y="1474"/>
                </a:cubicBezTo>
                <a:cubicBezTo>
                  <a:pt x="89" y="1485"/>
                  <a:pt x="90" y="1496"/>
                  <a:pt x="75" y="1502"/>
                </a:cubicBezTo>
                <a:cubicBezTo>
                  <a:pt x="61" y="1508"/>
                  <a:pt x="56" y="1509"/>
                  <a:pt x="50" y="1494"/>
                </a:cubicBezTo>
                <a:cubicBezTo>
                  <a:pt x="46" y="1486"/>
                  <a:pt x="40" y="1480"/>
                  <a:pt x="30" y="1482"/>
                </a:cubicBezTo>
                <a:cubicBezTo>
                  <a:pt x="25" y="1483"/>
                  <a:pt x="22" y="1484"/>
                  <a:pt x="17" y="1482"/>
                </a:cubicBezTo>
                <a:cubicBezTo>
                  <a:pt x="8" y="1478"/>
                  <a:pt x="0" y="1484"/>
                  <a:pt x="0" y="1491"/>
                </a:cubicBezTo>
                <a:cubicBezTo>
                  <a:pt x="1" y="1507"/>
                  <a:pt x="4" y="1524"/>
                  <a:pt x="7" y="1540"/>
                </a:cubicBezTo>
                <a:cubicBezTo>
                  <a:pt x="7" y="1542"/>
                  <a:pt x="12" y="1544"/>
                  <a:pt x="15" y="1545"/>
                </a:cubicBezTo>
                <a:cubicBezTo>
                  <a:pt x="26" y="1547"/>
                  <a:pt x="31" y="1562"/>
                  <a:pt x="44" y="1558"/>
                </a:cubicBezTo>
                <a:cubicBezTo>
                  <a:pt x="45" y="1558"/>
                  <a:pt x="46" y="1561"/>
                  <a:pt x="47" y="1563"/>
                </a:cubicBezTo>
                <a:cubicBezTo>
                  <a:pt x="45" y="1564"/>
                  <a:pt x="44" y="1564"/>
                  <a:pt x="43" y="1564"/>
                </a:cubicBezTo>
                <a:cubicBezTo>
                  <a:pt x="36" y="1559"/>
                  <a:pt x="25" y="1556"/>
                  <a:pt x="22" y="1563"/>
                </a:cubicBezTo>
                <a:cubicBezTo>
                  <a:pt x="18" y="1573"/>
                  <a:pt x="32" y="1572"/>
                  <a:pt x="37" y="1575"/>
                </a:cubicBezTo>
                <a:cubicBezTo>
                  <a:pt x="44" y="1578"/>
                  <a:pt x="49" y="1583"/>
                  <a:pt x="52" y="1590"/>
                </a:cubicBezTo>
                <a:cubicBezTo>
                  <a:pt x="43" y="1590"/>
                  <a:pt x="40" y="1603"/>
                  <a:pt x="30" y="1599"/>
                </a:cubicBezTo>
                <a:cubicBezTo>
                  <a:pt x="24" y="1597"/>
                  <a:pt x="17" y="1595"/>
                  <a:pt x="15" y="1602"/>
                </a:cubicBezTo>
                <a:cubicBezTo>
                  <a:pt x="12" y="1609"/>
                  <a:pt x="16" y="1615"/>
                  <a:pt x="22" y="1620"/>
                </a:cubicBezTo>
                <a:cubicBezTo>
                  <a:pt x="30" y="1628"/>
                  <a:pt x="41" y="1630"/>
                  <a:pt x="47" y="1639"/>
                </a:cubicBezTo>
                <a:cubicBezTo>
                  <a:pt x="50" y="1642"/>
                  <a:pt x="53" y="1645"/>
                  <a:pt x="57" y="1641"/>
                </a:cubicBezTo>
                <a:cubicBezTo>
                  <a:pt x="60" y="1637"/>
                  <a:pt x="64" y="1633"/>
                  <a:pt x="60" y="1627"/>
                </a:cubicBezTo>
                <a:cubicBezTo>
                  <a:pt x="58" y="1624"/>
                  <a:pt x="53" y="1624"/>
                  <a:pt x="55" y="1617"/>
                </a:cubicBezTo>
                <a:cubicBezTo>
                  <a:pt x="62" y="1625"/>
                  <a:pt x="72" y="1627"/>
                  <a:pt x="75" y="1639"/>
                </a:cubicBezTo>
                <a:cubicBezTo>
                  <a:pt x="79" y="1653"/>
                  <a:pt x="85" y="1663"/>
                  <a:pt x="102" y="1669"/>
                </a:cubicBezTo>
                <a:cubicBezTo>
                  <a:pt x="117" y="1674"/>
                  <a:pt x="118" y="1662"/>
                  <a:pt x="124" y="1659"/>
                </a:cubicBezTo>
                <a:cubicBezTo>
                  <a:pt x="132" y="1654"/>
                  <a:pt x="122" y="1653"/>
                  <a:pt x="119" y="1651"/>
                </a:cubicBezTo>
                <a:cubicBezTo>
                  <a:pt x="117" y="1648"/>
                  <a:pt x="118" y="1648"/>
                  <a:pt x="120" y="1647"/>
                </a:cubicBezTo>
                <a:cubicBezTo>
                  <a:pt x="130" y="1644"/>
                  <a:pt x="125" y="1637"/>
                  <a:pt x="123" y="1632"/>
                </a:cubicBezTo>
                <a:cubicBezTo>
                  <a:pt x="121" y="1626"/>
                  <a:pt x="115" y="1620"/>
                  <a:pt x="115" y="1615"/>
                </a:cubicBezTo>
                <a:cubicBezTo>
                  <a:pt x="116" y="1610"/>
                  <a:pt x="108" y="1602"/>
                  <a:pt x="117" y="1598"/>
                </a:cubicBezTo>
                <a:cubicBezTo>
                  <a:pt x="125" y="1595"/>
                  <a:pt x="130" y="1601"/>
                  <a:pt x="133" y="1607"/>
                </a:cubicBezTo>
                <a:cubicBezTo>
                  <a:pt x="137" y="1613"/>
                  <a:pt x="141" y="1622"/>
                  <a:pt x="148" y="1616"/>
                </a:cubicBezTo>
                <a:cubicBezTo>
                  <a:pt x="155" y="1612"/>
                  <a:pt x="152" y="1604"/>
                  <a:pt x="147" y="1598"/>
                </a:cubicBezTo>
                <a:cubicBezTo>
                  <a:pt x="144" y="1595"/>
                  <a:pt x="139" y="1592"/>
                  <a:pt x="143" y="1588"/>
                </a:cubicBezTo>
                <a:cubicBezTo>
                  <a:pt x="147" y="1584"/>
                  <a:pt x="151" y="1589"/>
                  <a:pt x="154" y="1591"/>
                </a:cubicBezTo>
                <a:cubicBezTo>
                  <a:pt x="172" y="1603"/>
                  <a:pt x="175" y="1623"/>
                  <a:pt x="181" y="1642"/>
                </a:cubicBezTo>
                <a:cubicBezTo>
                  <a:pt x="184" y="1652"/>
                  <a:pt x="187" y="1659"/>
                  <a:pt x="200" y="1654"/>
                </a:cubicBezTo>
                <a:cubicBezTo>
                  <a:pt x="205" y="1653"/>
                  <a:pt x="210" y="1652"/>
                  <a:pt x="214" y="1657"/>
                </a:cubicBezTo>
                <a:cubicBezTo>
                  <a:pt x="217" y="1661"/>
                  <a:pt x="222" y="1659"/>
                  <a:pt x="226" y="1657"/>
                </a:cubicBezTo>
                <a:cubicBezTo>
                  <a:pt x="232" y="1655"/>
                  <a:pt x="225" y="1650"/>
                  <a:pt x="227" y="1647"/>
                </a:cubicBezTo>
                <a:cubicBezTo>
                  <a:pt x="236" y="1651"/>
                  <a:pt x="234" y="1679"/>
                  <a:pt x="252" y="1656"/>
                </a:cubicBezTo>
                <a:cubicBezTo>
                  <a:pt x="263" y="1673"/>
                  <a:pt x="263" y="1669"/>
                  <a:pt x="285" y="1671"/>
                </a:cubicBezTo>
                <a:cubicBezTo>
                  <a:pt x="303" y="1673"/>
                  <a:pt x="311" y="1664"/>
                  <a:pt x="323" y="1655"/>
                </a:cubicBezTo>
                <a:cubicBezTo>
                  <a:pt x="324" y="1668"/>
                  <a:pt x="330" y="1673"/>
                  <a:pt x="342" y="1678"/>
                </a:cubicBezTo>
                <a:cubicBezTo>
                  <a:pt x="357" y="1685"/>
                  <a:pt x="370" y="1679"/>
                  <a:pt x="384" y="1683"/>
                </a:cubicBezTo>
                <a:cubicBezTo>
                  <a:pt x="391" y="1685"/>
                  <a:pt x="401" y="1683"/>
                  <a:pt x="403" y="1670"/>
                </a:cubicBezTo>
                <a:cubicBezTo>
                  <a:pt x="404" y="1663"/>
                  <a:pt x="407" y="1655"/>
                  <a:pt x="409" y="1647"/>
                </a:cubicBezTo>
                <a:cubicBezTo>
                  <a:pt x="417" y="1653"/>
                  <a:pt x="427" y="1655"/>
                  <a:pt x="431" y="1666"/>
                </a:cubicBezTo>
                <a:cubicBezTo>
                  <a:pt x="432" y="1671"/>
                  <a:pt x="437" y="1676"/>
                  <a:pt x="443" y="1675"/>
                </a:cubicBezTo>
                <a:cubicBezTo>
                  <a:pt x="448" y="1674"/>
                  <a:pt x="450" y="1668"/>
                  <a:pt x="450" y="1664"/>
                </a:cubicBezTo>
                <a:cubicBezTo>
                  <a:pt x="450" y="1648"/>
                  <a:pt x="469" y="1650"/>
                  <a:pt x="473" y="1638"/>
                </a:cubicBezTo>
                <a:cubicBezTo>
                  <a:pt x="474" y="1638"/>
                  <a:pt x="477" y="1638"/>
                  <a:pt x="479" y="1639"/>
                </a:cubicBezTo>
                <a:cubicBezTo>
                  <a:pt x="483" y="1640"/>
                  <a:pt x="485" y="1647"/>
                  <a:pt x="489" y="1640"/>
                </a:cubicBezTo>
                <a:cubicBezTo>
                  <a:pt x="493" y="1635"/>
                  <a:pt x="489" y="1632"/>
                  <a:pt x="487" y="1628"/>
                </a:cubicBezTo>
                <a:cubicBezTo>
                  <a:pt x="482" y="1620"/>
                  <a:pt x="476" y="1616"/>
                  <a:pt x="465" y="1619"/>
                </a:cubicBezTo>
                <a:cubicBezTo>
                  <a:pt x="475" y="1606"/>
                  <a:pt x="479" y="1605"/>
                  <a:pt x="489" y="1611"/>
                </a:cubicBezTo>
                <a:cubicBezTo>
                  <a:pt x="497" y="1616"/>
                  <a:pt x="502" y="1614"/>
                  <a:pt x="502" y="1604"/>
                </a:cubicBezTo>
                <a:cubicBezTo>
                  <a:pt x="506" y="1609"/>
                  <a:pt x="509" y="1614"/>
                  <a:pt x="512" y="1619"/>
                </a:cubicBezTo>
                <a:cubicBezTo>
                  <a:pt x="517" y="1625"/>
                  <a:pt x="522" y="1624"/>
                  <a:pt x="524" y="1617"/>
                </a:cubicBezTo>
                <a:cubicBezTo>
                  <a:pt x="528" y="1605"/>
                  <a:pt x="532" y="1606"/>
                  <a:pt x="540" y="1615"/>
                </a:cubicBezTo>
                <a:cubicBezTo>
                  <a:pt x="545" y="1621"/>
                  <a:pt x="554" y="1624"/>
                  <a:pt x="562" y="1613"/>
                </a:cubicBezTo>
                <a:cubicBezTo>
                  <a:pt x="560" y="1621"/>
                  <a:pt x="568" y="1626"/>
                  <a:pt x="562" y="1632"/>
                </a:cubicBezTo>
                <a:cubicBezTo>
                  <a:pt x="555" y="1639"/>
                  <a:pt x="549" y="1632"/>
                  <a:pt x="543" y="1633"/>
                </a:cubicBezTo>
                <a:cubicBezTo>
                  <a:pt x="539" y="1633"/>
                  <a:pt x="536" y="1630"/>
                  <a:pt x="534" y="1627"/>
                </a:cubicBezTo>
                <a:cubicBezTo>
                  <a:pt x="527" y="1621"/>
                  <a:pt x="522" y="1622"/>
                  <a:pt x="522" y="1632"/>
                </a:cubicBezTo>
                <a:cubicBezTo>
                  <a:pt x="522" y="1637"/>
                  <a:pt x="523" y="1644"/>
                  <a:pt x="516" y="1640"/>
                </a:cubicBezTo>
                <a:cubicBezTo>
                  <a:pt x="507" y="1634"/>
                  <a:pt x="503" y="1641"/>
                  <a:pt x="497" y="1644"/>
                </a:cubicBezTo>
                <a:cubicBezTo>
                  <a:pt x="489" y="1648"/>
                  <a:pt x="486" y="1660"/>
                  <a:pt x="475" y="1661"/>
                </a:cubicBezTo>
                <a:cubicBezTo>
                  <a:pt x="472" y="1661"/>
                  <a:pt x="470" y="1664"/>
                  <a:pt x="472" y="1668"/>
                </a:cubicBezTo>
                <a:cubicBezTo>
                  <a:pt x="474" y="1671"/>
                  <a:pt x="476" y="1673"/>
                  <a:pt x="480" y="1670"/>
                </a:cubicBezTo>
                <a:cubicBezTo>
                  <a:pt x="482" y="1669"/>
                  <a:pt x="485" y="1666"/>
                  <a:pt x="490" y="1669"/>
                </a:cubicBezTo>
                <a:cubicBezTo>
                  <a:pt x="485" y="1679"/>
                  <a:pt x="490" y="1684"/>
                  <a:pt x="501" y="1684"/>
                </a:cubicBezTo>
                <a:cubicBezTo>
                  <a:pt x="504" y="1684"/>
                  <a:pt x="505" y="1684"/>
                  <a:pt x="505" y="1688"/>
                </a:cubicBezTo>
                <a:cubicBezTo>
                  <a:pt x="506" y="1699"/>
                  <a:pt x="516" y="1705"/>
                  <a:pt x="521" y="1712"/>
                </a:cubicBezTo>
                <a:cubicBezTo>
                  <a:pt x="523" y="1715"/>
                  <a:pt x="527" y="1722"/>
                  <a:pt x="533" y="1717"/>
                </a:cubicBezTo>
                <a:cubicBezTo>
                  <a:pt x="536" y="1714"/>
                  <a:pt x="535" y="1709"/>
                  <a:pt x="533" y="1704"/>
                </a:cubicBezTo>
                <a:cubicBezTo>
                  <a:pt x="533" y="1703"/>
                  <a:pt x="531" y="1701"/>
                  <a:pt x="531" y="1700"/>
                </a:cubicBezTo>
                <a:cubicBezTo>
                  <a:pt x="528" y="1696"/>
                  <a:pt x="530" y="1694"/>
                  <a:pt x="533" y="1692"/>
                </a:cubicBezTo>
                <a:cubicBezTo>
                  <a:pt x="536" y="1691"/>
                  <a:pt x="537" y="1693"/>
                  <a:pt x="539" y="1695"/>
                </a:cubicBezTo>
                <a:cubicBezTo>
                  <a:pt x="550" y="1706"/>
                  <a:pt x="549" y="1715"/>
                  <a:pt x="540" y="1726"/>
                </a:cubicBezTo>
                <a:cubicBezTo>
                  <a:pt x="532" y="1736"/>
                  <a:pt x="518" y="1744"/>
                  <a:pt x="530" y="1760"/>
                </a:cubicBezTo>
                <a:cubicBezTo>
                  <a:pt x="531" y="1762"/>
                  <a:pt x="529" y="1762"/>
                  <a:pt x="528" y="1763"/>
                </a:cubicBezTo>
                <a:cubicBezTo>
                  <a:pt x="521" y="1771"/>
                  <a:pt x="519" y="1784"/>
                  <a:pt x="527" y="1787"/>
                </a:cubicBezTo>
                <a:cubicBezTo>
                  <a:pt x="539" y="1791"/>
                  <a:pt x="531" y="1804"/>
                  <a:pt x="540" y="1808"/>
                </a:cubicBezTo>
                <a:cubicBezTo>
                  <a:pt x="546" y="1810"/>
                  <a:pt x="549" y="1808"/>
                  <a:pt x="552" y="1803"/>
                </a:cubicBezTo>
                <a:cubicBezTo>
                  <a:pt x="555" y="1797"/>
                  <a:pt x="561" y="1798"/>
                  <a:pt x="567" y="1797"/>
                </a:cubicBezTo>
                <a:cubicBezTo>
                  <a:pt x="565" y="1814"/>
                  <a:pt x="584" y="1806"/>
                  <a:pt x="589" y="1815"/>
                </a:cubicBezTo>
                <a:cubicBezTo>
                  <a:pt x="592" y="1819"/>
                  <a:pt x="595" y="1825"/>
                  <a:pt x="598" y="1825"/>
                </a:cubicBezTo>
                <a:cubicBezTo>
                  <a:pt x="612" y="1826"/>
                  <a:pt x="611" y="1833"/>
                  <a:pt x="607" y="1842"/>
                </a:cubicBezTo>
                <a:cubicBezTo>
                  <a:pt x="604" y="1848"/>
                  <a:pt x="606" y="1854"/>
                  <a:pt x="612" y="1857"/>
                </a:cubicBezTo>
                <a:cubicBezTo>
                  <a:pt x="616" y="1861"/>
                  <a:pt x="619" y="1856"/>
                  <a:pt x="624" y="1854"/>
                </a:cubicBezTo>
                <a:cubicBezTo>
                  <a:pt x="637" y="1849"/>
                  <a:pt x="637" y="1835"/>
                  <a:pt x="643" y="1825"/>
                </a:cubicBezTo>
                <a:cubicBezTo>
                  <a:pt x="645" y="1823"/>
                  <a:pt x="645" y="1818"/>
                  <a:pt x="649" y="1818"/>
                </a:cubicBezTo>
                <a:cubicBezTo>
                  <a:pt x="653" y="1818"/>
                  <a:pt x="654" y="1823"/>
                  <a:pt x="655" y="1826"/>
                </a:cubicBezTo>
                <a:cubicBezTo>
                  <a:pt x="655" y="1835"/>
                  <a:pt x="660" y="1840"/>
                  <a:pt x="668" y="1843"/>
                </a:cubicBezTo>
                <a:cubicBezTo>
                  <a:pt x="674" y="1846"/>
                  <a:pt x="678" y="1847"/>
                  <a:pt x="680" y="1839"/>
                </a:cubicBezTo>
                <a:cubicBezTo>
                  <a:pt x="682" y="1833"/>
                  <a:pt x="684" y="1828"/>
                  <a:pt x="675" y="1826"/>
                </a:cubicBezTo>
                <a:cubicBezTo>
                  <a:pt x="671" y="1825"/>
                  <a:pt x="666" y="1826"/>
                  <a:pt x="664" y="1820"/>
                </a:cubicBezTo>
                <a:cubicBezTo>
                  <a:pt x="683" y="1825"/>
                  <a:pt x="681" y="1816"/>
                  <a:pt x="675" y="1805"/>
                </a:cubicBezTo>
                <a:cubicBezTo>
                  <a:pt x="673" y="1799"/>
                  <a:pt x="671" y="1796"/>
                  <a:pt x="679" y="1794"/>
                </a:cubicBezTo>
                <a:cubicBezTo>
                  <a:pt x="684" y="1792"/>
                  <a:pt x="679" y="1787"/>
                  <a:pt x="681" y="1784"/>
                </a:cubicBezTo>
                <a:cubicBezTo>
                  <a:pt x="687" y="1786"/>
                  <a:pt x="694" y="1794"/>
                  <a:pt x="699" y="1783"/>
                </a:cubicBezTo>
                <a:cubicBezTo>
                  <a:pt x="701" y="1779"/>
                  <a:pt x="703" y="1783"/>
                  <a:pt x="705" y="1782"/>
                </a:cubicBezTo>
                <a:cubicBezTo>
                  <a:pt x="718" y="1780"/>
                  <a:pt x="730" y="1785"/>
                  <a:pt x="741" y="1790"/>
                </a:cubicBezTo>
                <a:cubicBezTo>
                  <a:pt x="752" y="1795"/>
                  <a:pt x="752" y="1794"/>
                  <a:pt x="764" y="1808"/>
                </a:cubicBezTo>
                <a:cubicBezTo>
                  <a:pt x="766" y="1809"/>
                  <a:pt x="768" y="1810"/>
                  <a:pt x="769" y="1812"/>
                </a:cubicBezTo>
                <a:cubicBezTo>
                  <a:pt x="773" y="1824"/>
                  <a:pt x="783" y="1838"/>
                  <a:pt x="775" y="1849"/>
                </a:cubicBezTo>
                <a:cubicBezTo>
                  <a:pt x="767" y="1861"/>
                  <a:pt x="776" y="1870"/>
                  <a:pt x="776" y="1880"/>
                </a:cubicBezTo>
                <a:cubicBezTo>
                  <a:pt x="776" y="1894"/>
                  <a:pt x="784" y="1899"/>
                  <a:pt x="799" y="1896"/>
                </a:cubicBezTo>
                <a:cubicBezTo>
                  <a:pt x="789" y="1900"/>
                  <a:pt x="788" y="1908"/>
                  <a:pt x="789" y="1916"/>
                </a:cubicBezTo>
                <a:cubicBezTo>
                  <a:pt x="789" y="1922"/>
                  <a:pt x="785" y="1923"/>
                  <a:pt x="780" y="1923"/>
                </a:cubicBezTo>
                <a:cubicBezTo>
                  <a:pt x="773" y="1922"/>
                  <a:pt x="776" y="1919"/>
                  <a:pt x="778" y="1915"/>
                </a:cubicBezTo>
                <a:cubicBezTo>
                  <a:pt x="781" y="1910"/>
                  <a:pt x="777" y="1909"/>
                  <a:pt x="773" y="1908"/>
                </a:cubicBezTo>
                <a:cubicBezTo>
                  <a:pt x="767" y="1908"/>
                  <a:pt x="760" y="1909"/>
                  <a:pt x="760" y="1914"/>
                </a:cubicBezTo>
                <a:cubicBezTo>
                  <a:pt x="760" y="1923"/>
                  <a:pt x="749" y="1931"/>
                  <a:pt x="756" y="1941"/>
                </a:cubicBezTo>
                <a:cubicBezTo>
                  <a:pt x="759" y="1944"/>
                  <a:pt x="762" y="1942"/>
                  <a:pt x="765" y="1941"/>
                </a:cubicBezTo>
                <a:cubicBezTo>
                  <a:pt x="775" y="1935"/>
                  <a:pt x="787" y="1936"/>
                  <a:pt x="797" y="1940"/>
                </a:cubicBezTo>
                <a:cubicBezTo>
                  <a:pt x="808" y="1945"/>
                  <a:pt x="812" y="1940"/>
                  <a:pt x="816" y="1932"/>
                </a:cubicBezTo>
                <a:cubicBezTo>
                  <a:pt x="818" y="1928"/>
                  <a:pt x="820" y="1924"/>
                  <a:pt x="823" y="1922"/>
                </a:cubicBezTo>
                <a:cubicBezTo>
                  <a:pt x="832" y="1914"/>
                  <a:pt x="826" y="1906"/>
                  <a:pt x="821" y="1904"/>
                </a:cubicBezTo>
                <a:cubicBezTo>
                  <a:pt x="807" y="1900"/>
                  <a:pt x="808" y="1893"/>
                  <a:pt x="813" y="1884"/>
                </a:cubicBezTo>
                <a:cubicBezTo>
                  <a:pt x="817" y="1884"/>
                  <a:pt x="819" y="1887"/>
                  <a:pt x="819" y="1890"/>
                </a:cubicBezTo>
                <a:cubicBezTo>
                  <a:pt x="821" y="1903"/>
                  <a:pt x="831" y="1907"/>
                  <a:pt x="839" y="1913"/>
                </a:cubicBezTo>
                <a:cubicBezTo>
                  <a:pt x="845" y="1917"/>
                  <a:pt x="851" y="1917"/>
                  <a:pt x="851" y="1907"/>
                </a:cubicBezTo>
                <a:cubicBezTo>
                  <a:pt x="850" y="1903"/>
                  <a:pt x="848" y="1899"/>
                  <a:pt x="855" y="1898"/>
                </a:cubicBezTo>
                <a:cubicBezTo>
                  <a:pt x="860" y="1898"/>
                  <a:pt x="865" y="1900"/>
                  <a:pt x="865" y="1906"/>
                </a:cubicBezTo>
                <a:cubicBezTo>
                  <a:pt x="864" y="1920"/>
                  <a:pt x="873" y="1924"/>
                  <a:pt x="884" y="1924"/>
                </a:cubicBezTo>
                <a:cubicBezTo>
                  <a:pt x="888" y="1924"/>
                  <a:pt x="891" y="1924"/>
                  <a:pt x="891" y="1928"/>
                </a:cubicBezTo>
                <a:cubicBezTo>
                  <a:pt x="891" y="1932"/>
                  <a:pt x="887" y="1934"/>
                  <a:pt x="884" y="1933"/>
                </a:cubicBezTo>
                <a:cubicBezTo>
                  <a:pt x="874" y="1931"/>
                  <a:pt x="867" y="1940"/>
                  <a:pt x="858" y="1941"/>
                </a:cubicBezTo>
                <a:cubicBezTo>
                  <a:pt x="853" y="1942"/>
                  <a:pt x="847" y="1947"/>
                  <a:pt x="851" y="1954"/>
                </a:cubicBezTo>
                <a:cubicBezTo>
                  <a:pt x="858" y="1966"/>
                  <a:pt x="863" y="1979"/>
                  <a:pt x="877" y="1987"/>
                </a:cubicBezTo>
                <a:cubicBezTo>
                  <a:pt x="875" y="1988"/>
                  <a:pt x="874" y="1989"/>
                  <a:pt x="872" y="1990"/>
                </a:cubicBezTo>
                <a:cubicBezTo>
                  <a:pt x="867" y="1991"/>
                  <a:pt x="861" y="1990"/>
                  <a:pt x="862" y="1998"/>
                </a:cubicBezTo>
                <a:cubicBezTo>
                  <a:pt x="864" y="2007"/>
                  <a:pt x="867" y="2015"/>
                  <a:pt x="875" y="2020"/>
                </a:cubicBezTo>
                <a:cubicBezTo>
                  <a:pt x="881" y="2024"/>
                  <a:pt x="882" y="2017"/>
                  <a:pt x="884" y="2013"/>
                </a:cubicBezTo>
                <a:cubicBezTo>
                  <a:pt x="885" y="2009"/>
                  <a:pt x="888" y="2010"/>
                  <a:pt x="891" y="2011"/>
                </a:cubicBezTo>
                <a:cubicBezTo>
                  <a:pt x="897" y="2015"/>
                  <a:pt x="892" y="2026"/>
                  <a:pt x="901" y="2028"/>
                </a:cubicBezTo>
                <a:cubicBezTo>
                  <a:pt x="900" y="2029"/>
                  <a:pt x="898" y="2031"/>
                  <a:pt x="897" y="2032"/>
                </a:cubicBezTo>
                <a:cubicBezTo>
                  <a:pt x="894" y="2033"/>
                  <a:pt x="888" y="2030"/>
                  <a:pt x="890" y="2037"/>
                </a:cubicBezTo>
                <a:cubicBezTo>
                  <a:pt x="891" y="2040"/>
                  <a:pt x="895" y="2042"/>
                  <a:pt x="899" y="2042"/>
                </a:cubicBezTo>
                <a:cubicBezTo>
                  <a:pt x="914" y="2041"/>
                  <a:pt x="926" y="2048"/>
                  <a:pt x="937" y="2056"/>
                </a:cubicBezTo>
                <a:cubicBezTo>
                  <a:pt x="948" y="2065"/>
                  <a:pt x="955" y="2065"/>
                  <a:pt x="960" y="2052"/>
                </a:cubicBezTo>
                <a:cubicBezTo>
                  <a:pt x="965" y="2038"/>
                  <a:pt x="973" y="2030"/>
                  <a:pt x="988" y="2030"/>
                </a:cubicBezTo>
                <a:cubicBezTo>
                  <a:pt x="993" y="2030"/>
                  <a:pt x="997" y="2027"/>
                  <a:pt x="1001" y="2024"/>
                </a:cubicBezTo>
                <a:cubicBezTo>
                  <a:pt x="1012" y="2018"/>
                  <a:pt x="1032" y="2012"/>
                  <a:pt x="1036" y="2020"/>
                </a:cubicBezTo>
                <a:cubicBezTo>
                  <a:pt x="1044" y="2034"/>
                  <a:pt x="1056" y="2042"/>
                  <a:pt x="1065" y="2054"/>
                </a:cubicBezTo>
                <a:cubicBezTo>
                  <a:pt x="1065" y="2055"/>
                  <a:pt x="1065" y="2055"/>
                  <a:pt x="1065" y="2056"/>
                </a:cubicBezTo>
                <a:cubicBezTo>
                  <a:pt x="1062" y="2065"/>
                  <a:pt x="1068" y="2071"/>
                  <a:pt x="1073" y="2077"/>
                </a:cubicBezTo>
                <a:cubicBezTo>
                  <a:pt x="1076" y="2082"/>
                  <a:pt x="1082" y="2087"/>
                  <a:pt x="1083" y="2092"/>
                </a:cubicBezTo>
                <a:cubicBezTo>
                  <a:pt x="1090" y="2117"/>
                  <a:pt x="1094" y="2141"/>
                  <a:pt x="1104" y="2165"/>
                </a:cubicBezTo>
                <a:cubicBezTo>
                  <a:pt x="1111" y="2180"/>
                  <a:pt x="1111" y="2198"/>
                  <a:pt x="1118" y="2213"/>
                </a:cubicBezTo>
                <a:cubicBezTo>
                  <a:pt x="1133" y="2246"/>
                  <a:pt x="1143" y="2282"/>
                  <a:pt x="1165" y="2312"/>
                </a:cubicBezTo>
                <a:cubicBezTo>
                  <a:pt x="1172" y="2322"/>
                  <a:pt x="1178" y="2333"/>
                  <a:pt x="1176" y="2346"/>
                </a:cubicBezTo>
                <a:cubicBezTo>
                  <a:pt x="1173" y="2359"/>
                  <a:pt x="1178" y="2368"/>
                  <a:pt x="1189" y="2377"/>
                </a:cubicBezTo>
                <a:cubicBezTo>
                  <a:pt x="1211" y="2395"/>
                  <a:pt x="1231" y="2416"/>
                  <a:pt x="1239" y="2444"/>
                </a:cubicBezTo>
                <a:cubicBezTo>
                  <a:pt x="1244" y="2462"/>
                  <a:pt x="1252" y="2476"/>
                  <a:pt x="1268" y="2485"/>
                </a:cubicBezTo>
                <a:cubicBezTo>
                  <a:pt x="1289" y="2498"/>
                  <a:pt x="1306" y="2515"/>
                  <a:pt x="1317" y="2537"/>
                </a:cubicBezTo>
                <a:cubicBezTo>
                  <a:pt x="1333" y="2571"/>
                  <a:pt x="1338" y="2607"/>
                  <a:pt x="1337" y="2644"/>
                </a:cubicBezTo>
                <a:cubicBezTo>
                  <a:pt x="1335" y="2697"/>
                  <a:pt x="1331" y="2749"/>
                  <a:pt x="1330" y="2802"/>
                </a:cubicBezTo>
                <a:cubicBezTo>
                  <a:pt x="1329" y="2876"/>
                  <a:pt x="1330" y="2950"/>
                  <a:pt x="1330" y="3023"/>
                </a:cubicBezTo>
                <a:cubicBezTo>
                  <a:pt x="1330" y="3033"/>
                  <a:pt x="1326" y="3044"/>
                  <a:pt x="1329" y="3053"/>
                </a:cubicBezTo>
                <a:cubicBezTo>
                  <a:pt x="1337" y="3076"/>
                  <a:pt x="1328" y="3100"/>
                  <a:pt x="1332" y="3123"/>
                </a:cubicBezTo>
                <a:cubicBezTo>
                  <a:pt x="1335" y="3136"/>
                  <a:pt x="1333" y="3150"/>
                  <a:pt x="1333" y="3163"/>
                </a:cubicBezTo>
                <a:cubicBezTo>
                  <a:pt x="1333" y="3169"/>
                  <a:pt x="1329" y="3177"/>
                  <a:pt x="1323" y="3182"/>
                </a:cubicBezTo>
                <a:cubicBezTo>
                  <a:pt x="1460" y="3182"/>
                  <a:pt x="1460" y="3182"/>
                  <a:pt x="1460" y="3182"/>
                </a:cubicBezTo>
                <a:cubicBezTo>
                  <a:pt x="1447" y="3182"/>
                  <a:pt x="1441" y="3166"/>
                  <a:pt x="1441" y="3153"/>
                </a:cubicBezTo>
                <a:cubicBezTo>
                  <a:pt x="1444" y="3118"/>
                  <a:pt x="1437" y="3095"/>
                  <a:pt x="1437" y="3060"/>
                </a:cubicBezTo>
                <a:cubicBezTo>
                  <a:pt x="1438" y="3011"/>
                  <a:pt x="1432" y="2961"/>
                  <a:pt x="1430" y="2912"/>
                </a:cubicBezTo>
                <a:cubicBezTo>
                  <a:pt x="1429" y="2861"/>
                  <a:pt x="1430" y="2810"/>
                  <a:pt x="1430" y="2759"/>
                </a:cubicBezTo>
                <a:cubicBezTo>
                  <a:pt x="1430" y="2732"/>
                  <a:pt x="1432" y="2706"/>
                  <a:pt x="1435" y="2679"/>
                </a:cubicBezTo>
                <a:cubicBezTo>
                  <a:pt x="1437" y="2662"/>
                  <a:pt x="1441" y="2646"/>
                  <a:pt x="1441" y="2629"/>
                </a:cubicBezTo>
                <a:cubicBezTo>
                  <a:pt x="1440" y="2610"/>
                  <a:pt x="1441" y="2591"/>
                  <a:pt x="1447" y="2573"/>
                </a:cubicBezTo>
                <a:cubicBezTo>
                  <a:pt x="1451" y="2559"/>
                  <a:pt x="1457" y="2541"/>
                  <a:pt x="1477" y="2540"/>
                </a:cubicBezTo>
                <a:cubicBezTo>
                  <a:pt x="1481" y="2539"/>
                  <a:pt x="1482" y="2530"/>
                  <a:pt x="1487" y="2536"/>
                </a:cubicBezTo>
                <a:cubicBezTo>
                  <a:pt x="1489" y="2540"/>
                  <a:pt x="1491" y="2546"/>
                  <a:pt x="1487" y="2550"/>
                </a:cubicBezTo>
                <a:cubicBezTo>
                  <a:pt x="1481" y="2554"/>
                  <a:pt x="1482" y="2559"/>
                  <a:pt x="1487" y="2560"/>
                </a:cubicBezTo>
                <a:cubicBezTo>
                  <a:pt x="1491" y="2561"/>
                  <a:pt x="1499" y="2569"/>
                  <a:pt x="1502" y="2558"/>
                </a:cubicBezTo>
                <a:cubicBezTo>
                  <a:pt x="1504" y="2550"/>
                  <a:pt x="1507" y="2552"/>
                  <a:pt x="1512" y="2554"/>
                </a:cubicBezTo>
                <a:cubicBezTo>
                  <a:pt x="1518" y="2557"/>
                  <a:pt x="1530" y="2558"/>
                  <a:pt x="1529" y="2554"/>
                </a:cubicBezTo>
                <a:cubicBezTo>
                  <a:pt x="1526" y="2543"/>
                  <a:pt x="1536" y="2541"/>
                  <a:pt x="1540" y="2534"/>
                </a:cubicBezTo>
                <a:cubicBezTo>
                  <a:pt x="1536" y="2533"/>
                  <a:pt x="1534" y="2532"/>
                  <a:pt x="1532" y="2531"/>
                </a:cubicBezTo>
                <a:cubicBezTo>
                  <a:pt x="1519" y="2528"/>
                  <a:pt x="1505" y="2530"/>
                  <a:pt x="1497" y="2516"/>
                </a:cubicBezTo>
                <a:cubicBezTo>
                  <a:pt x="1493" y="2510"/>
                  <a:pt x="1484" y="2510"/>
                  <a:pt x="1478" y="2515"/>
                </a:cubicBezTo>
                <a:cubicBezTo>
                  <a:pt x="1472" y="2502"/>
                  <a:pt x="1476" y="2485"/>
                  <a:pt x="1467" y="2474"/>
                </a:cubicBezTo>
                <a:cubicBezTo>
                  <a:pt x="1460" y="2466"/>
                  <a:pt x="1458" y="2459"/>
                  <a:pt x="1458" y="2450"/>
                </a:cubicBezTo>
                <a:cubicBezTo>
                  <a:pt x="1459" y="2442"/>
                  <a:pt x="1458" y="2435"/>
                  <a:pt x="1457" y="2428"/>
                </a:cubicBezTo>
                <a:cubicBezTo>
                  <a:pt x="1453" y="2404"/>
                  <a:pt x="1448" y="2380"/>
                  <a:pt x="1453" y="2357"/>
                </a:cubicBezTo>
                <a:cubicBezTo>
                  <a:pt x="1459" y="2326"/>
                  <a:pt x="1454" y="2295"/>
                  <a:pt x="1462" y="2264"/>
                </a:cubicBezTo>
                <a:cubicBezTo>
                  <a:pt x="1467" y="2242"/>
                  <a:pt x="1463" y="2217"/>
                  <a:pt x="1480" y="2198"/>
                </a:cubicBezTo>
                <a:cubicBezTo>
                  <a:pt x="1485" y="2193"/>
                  <a:pt x="1488" y="2180"/>
                  <a:pt x="1500" y="2190"/>
                </a:cubicBezTo>
                <a:cubicBezTo>
                  <a:pt x="1501" y="2192"/>
                  <a:pt x="1504" y="2190"/>
                  <a:pt x="1505" y="2188"/>
                </a:cubicBezTo>
                <a:cubicBezTo>
                  <a:pt x="1506" y="2177"/>
                  <a:pt x="1519" y="2171"/>
                  <a:pt x="1519" y="2159"/>
                </a:cubicBezTo>
                <a:cubicBezTo>
                  <a:pt x="1518" y="2150"/>
                  <a:pt x="1523" y="2144"/>
                  <a:pt x="1529" y="2138"/>
                </a:cubicBezTo>
                <a:cubicBezTo>
                  <a:pt x="1564" y="2102"/>
                  <a:pt x="1596" y="2062"/>
                  <a:pt x="1633" y="2027"/>
                </a:cubicBezTo>
                <a:cubicBezTo>
                  <a:pt x="1640" y="2021"/>
                  <a:pt x="1641" y="2012"/>
                  <a:pt x="1638" y="2007"/>
                </a:cubicBezTo>
                <a:cubicBezTo>
                  <a:pt x="1629" y="1991"/>
                  <a:pt x="1638" y="1979"/>
                  <a:pt x="1644" y="1966"/>
                </a:cubicBezTo>
                <a:cubicBezTo>
                  <a:pt x="1654" y="1944"/>
                  <a:pt x="1655" y="1944"/>
                  <a:pt x="1678" y="1951"/>
                </a:cubicBezTo>
                <a:cubicBezTo>
                  <a:pt x="1681" y="1952"/>
                  <a:pt x="1685" y="1952"/>
                  <a:pt x="1686" y="1957"/>
                </a:cubicBezTo>
                <a:cubicBezTo>
                  <a:pt x="1686" y="1961"/>
                  <a:pt x="1683" y="1963"/>
                  <a:pt x="1680" y="1965"/>
                </a:cubicBezTo>
                <a:cubicBezTo>
                  <a:pt x="1672" y="1970"/>
                  <a:pt x="1667" y="1976"/>
                  <a:pt x="1674" y="1985"/>
                </a:cubicBezTo>
                <a:cubicBezTo>
                  <a:pt x="1677" y="1990"/>
                  <a:pt x="1676" y="1994"/>
                  <a:pt x="1671" y="1997"/>
                </a:cubicBezTo>
                <a:cubicBezTo>
                  <a:pt x="1664" y="2001"/>
                  <a:pt x="1658" y="2009"/>
                  <a:pt x="1664" y="2015"/>
                </a:cubicBezTo>
                <a:cubicBezTo>
                  <a:pt x="1668" y="2018"/>
                  <a:pt x="1678" y="2027"/>
                  <a:pt x="1688" y="2016"/>
                </a:cubicBezTo>
                <a:cubicBezTo>
                  <a:pt x="1691" y="2012"/>
                  <a:pt x="1701" y="2009"/>
                  <a:pt x="1709" y="2018"/>
                </a:cubicBezTo>
                <a:cubicBezTo>
                  <a:pt x="1714" y="2022"/>
                  <a:pt x="1726" y="2035"/>
                  <a:pt x="1735" y="2017"/>
                </a:cubicBezTo>
                <a:cubicBezTo>
                  <a:pt x="1737" y="2014"/>
                  <a:pt x="1745" y="2010"/>
                  <a:pt x="1746" y="2011"/>
                </a:cubicBezTo>
                <a:cubicBezTo>
                  <a:pt x="1756" y="2017"/>
                  <a:pt x="1763" y="2010"/>
                  <a:pt x="1770" y="2006"/>
                </a:cubicBezTo>
                <a:cubicBezTo>
                  <a:pt x="1772" y="2014"/>
                  <a:pt x="1768" y="2020"/>
                  <a:pt x="1767" y="2026"/>
                </a:cubicBezTo>
                <a:cubicBezTo>
                  <a:pt x="1766" y="2029"/>
                  <a:pt x="1766" y="2033"/>
                  <a:pt x="1769" y="2036"/>
                </a:cubicBezTo>
                <a:cubicBezTo>
                  <a:pt x="1773" y="2039"/>
                  <a:pt x="1776" y="2037"/>
                  <a:pt x="1779" y="2035"/>
                </a:cubicBezTo>
                <a:cubicBezTo>
                  <a:pt x="1788" y="2031"/>
                  <a:pt x="1793" y="2019"/>
                  <a:pt x="1806" y="2026"/>
                </a:cubicBezTo>
                <a:cubicBezTo>
                  <a:pt x="1806" y="2027"/>
                  <a:pt x="1809" y="2024"/>
                  <a:pt x="1811" y="2023"/>
                </a:cubicBezTo>
                <a:cubicBezTo>
                  <a:pt x="1816" y="2020"/>
                  <a:pt x="1819" y="2021"/>
                  <a:pt x="1820" y="2027"/>
                </a:cubicBezTo>
                <a:cubicBezTo>
                  <a:pt x="1821" y="2039"/>
                  <a:pt x="1829" y="2041"/>
                  <a:pt x="1840" y="2042"/>
                </a:cubicBezTo>
                <a:cubicBezTo>
                  <a:pt x="1830" y="2018"/>
                  <a:pt x="1831" y="2016"/>
                  <a:pt x="1850" y="2017"/>
                </a:cubicBezTo>
                <a:cubicBezTo>
                  <a:pt x="1851" y="2024"/>
                  <a:pt x="1835" y="2021"/>
                  <a:pt x="1842" y="2029"/>
                </a:cubicBezTo>
                <a:cubicBezTo>
                  <a:pt x="1848" y="2036"/>
                  <a:pt x="1860" y="2047"/>
                  <a:pt x="1865" y="2041"/>
                </a:cubicBezTo>
                <a:cubicBezTo>
                  <a:pt x="1874" y="2032"/>
                  <a:pt x="1877" y="2037"/>
                  <a:pt x="1884" y="2041"/>
                </a:cubicBezTo>
                <a:cubicBezTo>
                  <a:pt x="1888" y="2043"/>
                  <a:pt x="1892" y="2040"/>
                  <a:pt x="1896" y="2038"/>
                </a:cubicBezTo>
                <a:cubicBezTo>
                  <a:pt x="1899" y="2036"/>
                  <a:pt x="1899" y="2031"/>
                  <a:pt x="1897" y="2029"/>
                </a:cubicBezTo>
                <a:cubicBezTo>
                  <a:pt x="1892" y="2025"/>
                  <a:pt x="1891" y="2022"/>
                  <a:pt x="1890" y="2015"/>
                </a:cubicBezTo>
                <a:cubicBezTo>
                  <a:pt x="1888" y="2002"/>
                  <a:pt x="1880" y="1989"/>
                  <a:pt x="1866" y="1982"/>
                </a:cubicBezTo>
                <a:cubicBezTo>
                  <a:pt x="1864" y="1982"/>
                  <a:pt x="1863" y="1981"/>
                  <a:pt x="1862" y="1981"/>
                </a:cubicBezTo>
                <a:cubicBezTo>
                  <a:pt x="1855" y="1978"/>
                  <a:pt x="1857" y="1973"/>
                  <a:pt x="1857" y="1969"/>
                </a:cubicBezTo>
                <a:cubicBezTo>
                  <a:pt x="1856" y="1962"/>
                  <a:pt x="1862" y="1961"/>
                  <a:pt x="1864" y="1960"/>
                </a:cubicBezTo>
                <a:cubicBezTo>
                  <a:pt x="1871" y="1959"/>
                  <a:pt x="1867" y="1966"/>
                  <a:pt x="1869" y="1969"/>
                </a:cubicBezTo>
                <a:cubicBezTo>
                  <a:pt x="1874" y="1976"/>
                  <a:pt x="1884" y="1978"/>
                  <a:pt x="1888" y="1975"/>
                </a:cubicBezTo>
                <a:cubicBezTo>
                  <a:pt x="1903" y="1965"/>
                  <a:pt x="1909" y="1976"/>
                  <a:pt x="1918" y="1983"/>
                </a:cubicBezTo>
                <a:cubicBezTo>
                  <a:pt x="1921" y="1985"/>
                  <a:pt x="1919" y="1988"/>
                  <a:pt x="1921" y="1991"/>
                </a:cubicBezTo>
                <a:cubicBezTo>
                  <a:pt x="1927" y="1997"/>
                  <a:pt x="1939" y="2000"/>
                  <a:pt x="1940" y="1999"/>
                </a:cubicBezTo>
                <a:cubicBezTo>
                  <a:pt x="1944" y="1987"/>
                  <a:pt x="1949" y="1995"/>
                  <a:pt x="1954" y="1997"/>
                </a:cubicBezTo>
                <a:cubicBezTo>
                  <a:pt x="1956" y="1998"/>
                  <a:pt x="1958" y="2001"/>
                  <a:pt x="1961" y="1999"/>
                </a:cubicBezTo>
                <a:cubicBezTo>
                  <a:pt x="1963" y="1997"/>
                  <a:pt x="1962" y="1994"/>
                  <a:pt x="1962" y="1992"/>
                </a:cubicBezTo>
                <a:cubicBezTo>
                  <a:pt x="1962" y="1988"/>
                  <a:pt x="1956" y="1987"/>
                  <a:pt x="1958" y="1983"/>
                </a:cubicBezTo>
                <a:cubicBezTo>
                  <a:pt x="1961" y="1981"/>
                  <a:pt x="1963" y="1983"/>
                  <a:pt x="1965" y="1985"/>
                </a:cubicBezTo>
                <a:cubicBezTo>
                  <a:pt x="1968" y="1986"/>
                  <a:pt x="1971" y="1987"/>
                  <a:pt x="1974" y="1989"/>
                </a:cubicBezTo>
                <a:cubicBezTo>
                  <a:pt x="1977" y="1990"/>
                  <a:pt x="1980" y="1990"/>
                  <a:pt x="1981" y="1986"/>
                </a:cubicBezTo>
                <a:cubicBezTo>
                  <a:pt x="1985" y="1968"/>
                  <a:pt x="1996" y="1978"/>
                  <a:pt x="2003" y="1981"/>
                </a:cubicBezTo>
                <a:cubicBezTo>
                  <a:pt x="2009" y="1983"/>
                  <a:pt x="2013" y="1987"/>
                  <a:pt x="2018" y="1981"/>
                </a:cubicBezTo>
                <a:cubicBezTo>
                  <a:pt x="2023" y="1973"/>
                  <a:pt x="2015" y="1972"/>
                  <a:pt x="2012" y="1970"/>
                </a:cubicBezTo>
                <a:cubicBezTo>
                  <a:pt x="2008" y="1967"/>
                  <a:pt x="2004" y="1964"/>
                  <a:pt x="2006" y="1960"/>
                </a:cubicBezTo>
                <a:cubicBezTo>
                  <a:pt x="2007" y="1957"/>
                  <a:pt x="2013" y="1954"/>
                  <a:pt x="2014" y="1955"/>
                </a:cubicBezTo>
                <a:cubicBezTo>
                  <a:pt x="2025" y="1965"/>
                  <a:pt x="2039" y="1943"/>
                  <a:pt x="2050" y="1957"/>
                </a:cubicBezTo>
                <a:cubicBezTo>
                  <a:pt x="2052" y="1958"/>
                  <a:pt x="2053" y="1954"/>
                  <a:pt x="2054" y="1953"/>
                </a:cubicBezTo>
                <a:cubicBezTo>
                  <a:pt x="2063" y="1941"/>
                  <a:pt x="2052" y="1934"/>
                  <a:pt x="2045" y="1921"/>
                </a:cubicBezTo>
                <a:cubicBezTo>
                  <a:pt x="2056" y="1932"/>
                  <a:pt x="2062" y="1927"/>
                  <a:pt x="2069" y="1924"/>
                </a:cubicBezTo>
                <a:cubicBezTo>
                  <a:pt x="2069" y="1920"/>
                  <a:pt x="2067" y="1919"/>
                  <a:pt x="2065" y="1918"/>
                </a:cubicBezTo>
                <a:cubicBezTo>
                  <a:pt x="2060" y="1916"/>
                  <a:pt x="2057" y="1912"/>
                  <a:pt x="2058" y="1907"/>
                </a:cubicBezTo>
                <a:cubicBezTo>
                  <a:pt x="2059" y="1902"/>
                  <a:pt x="2065" y="1902"/>
                  <a:pt x="2069" y="1900"/>
                </a:cubicBezTo>
                <a:cubicBezTo>
                  <a:pt x="2077" y="1895"/>
                  <a:pt x="2075" y="1906"/>
                  <a:pt x="2081" y="1907"/>
                </a:cubicBezTo>
                <a:cubicBezTo>
                  <a:pt x="2096" y="1909"/>
                  <a:pt x="2111" y="1915"/>
                  <a:pt x="2125" y="1901"/>
                </a:cubicBezTo>
                <a:cubicBezTo>
                  <a:pt x="2120" y="1911"/>
                  <a:pt x="2124" y="1918"/>
                  <a:pt x="2129" y="1924"/>
                </a:cubicBezTo>
                <a:cubicBezTo>
                  <a:pt x="2134" y="1931"/>
                  <a:pt x="2140" y="1925"/>
                  <a:pt x="2146" y="1923"/>
                </a:cubicBezTo>
                <a:cubicBezTo>
                  <a:pt x="2153" y="1921"/>
                  <a:pt x="2157" y="1921"/>
                  <a:pt x="2166" y="1926"/>
                </a:cubicBezTo>
                <a:cubicBezTo>
                  <a:pt x="2166" y="1927"/>
                  <a:pt x="2167" y="1927"/>
                  <a:pt x="2167" y="1926"/>
                </a:cubicBezTo>
                <a:cubicBezTo>
                  <a:pt x="2177" y="1926"/>
                  <a:pt x="2183" y="1932"/>
                  <a:pt x="2191" y="1939"/>
                </a:cubicBezTo>
                <a:cubicBezTo>
                  <a:pt x="2199" y="1946"/>
                  <a:pt x="2199" y="1950"/>
                  <a:pt x="2194" y="1958"/>
                </a:cubicBezTo>
                <a:cubicBezTo>
                  <a:pt x="2192" y="1962"/>
                  <a:pt x="2193" y="1964"/>
                  <a:pt x="2198" y="1968"/>
                </a:cubicBezTo>
                <a:cubicBezTo>
                  <a:pt x="2211" y="1980"/>
                  <a:pt x="2212" y="1957"/>
                  <a:pt x="2221" y="1962"/>
                </a:cubicBezTo>
                <a:cubicBezTo>
                  <a:pt x="2223" y="1955"/>
                  <a:pt x="2218" y="1951"/>
                  <a:pt x="2217" y="1945"/>
                </a:cubicBezTo>
                <a:cubicBezTo>
                  <a:pt x="2216" y="1942"/>
                  <a:pt x="2206" y="1942"/>
                  <a:pt x="2213" y="1937"/>
                </a:cubicBezTo>
                <a:cubicBezTo>
                  <a:pt x="2217" y="1934"/>
                  <a:pt x="2220" y="1941"/>
                  <a:pt x="2221" y="1944"/>
                </a:cubicBezTo>
                <a:cubicBezTo>
                  <a:pt x="2227" y="1960"/>
                  <a:pt x="2238" y="1954"/>
                  <a:pt x="2247" y="1950"/>
                </a:cubicBezTo>
                <a:cubicBezTo>
                  <a:pt x="2255" y="1945"/>
                  <a:pt x="2267" y="1948"/>
                  <a:pt x="2269" y="1951"/>
                </a:cubicBezTo>
                <a:cubicBezTo>
                  <a:pt x="2274" y="1963"/>
                  <a:pt x="2286" y="1958"/>
                  <a:pt x="2292" y="1965"/>
                </a:cubicBezTo>
                <a:cubicBezTo>
                  <a:pt x="2294" y="1967"/>
                  <a:pt x="2299" y="1965"/>
                  <a:pt x="2298" y="1963"/>
                </a:cubicBezTo>
                <a:cubicBezTo>
                  <a:pt x="2293" y="1950"/>
                  <a:pt x="2313" y="1938"/>
                  <a:pt x="2297" y="1925"/>
                </a:cubicBezTo>
                <a:cubicBezTo>
                  <a:pt x="2309" y="1932"/>
                  <a:pt x="2315" y="1942"/>
                  <a:pt x="2316" y="1955"/>
                </a:cubicBezTo>
                <a:cubicBezTo>
                  <a:pt x="2317" y="1965"/>
                  <a:pt x="2325" y="1978"/>
                  <a:pt x="2329" y="1977"/>
                </a:cubicBezTo>
                <a:cubicBezTo>
                  <a:pt x="2340" y="1971"/>
                  <a:pt x="2346" y="1977"/>
                  <a:pt x="2354" y="1982"/>
                </a:cubicBezTo>
                <a:cubicBezTo>
                  <a:pt x="2358" y="1985"/>
                  <a:pt x="2361" y="1985"/>
                  <a:pt x="2365" y="1981"/>
                </a:cubicBezTo>
                <a:cubicBezTo>
                  <a:pt x="2374" y="1972"/>
                  <a:pt x="2374" y="1945"/>
                  <a:pt x="2364" y="1937"/>
                </a:cubicBezTo>
                <a:cubicBezTo>
                  <a:pt x="2361" y="1934"/>
                  <a:pt x="2357" y="1933"/>
                  <a:pt x="2353" y="1936"/>
                </a:cubicBezTo>
                <a:cubicBezTo>
                  <a:pt x="2349" y="1939"/>
                  <a:pt x="2349" y="1943"/>
                  <a:pt x="2351" y="1947"/>
                </a:cubicBezTo>
                <a:cubicBezTo>
                  <a:pt x="2352" y="1951"/>
                  <a:pt x="2358" y="1952"/>
                  <a:pt x="2357" y="1958"/>
                </a:cubicBezTo>
                <a:cubicBezTo>
                  <a:pt x="2351" y="1958"/>
                  <a:pt x="2351" y="1948"/>
                  <a:pt x="2345" y="1951"/>
                </a:cubicBezTo>
                <a:cubicBezTo>
                  <a:pt x="2329" y="1956"/>
                  <a:pt x="2334" y="1941"/>
                  <a:pt x="2336" y="1939"/>
                </a:cubicBezTo>
                <a:cubicBezTo>
                  <a:pt x="2351" y="1924"/>
                  <a:pt x="2339" y="1921"/>
                  <a:pt x="2329" y="1916"/>
                </a:cubicBezTo>
                <a:cubicBezTo>
                  <a:pt x="2335" y="1918"/>
                  <a:pt x="2341" y="1913"/>
                  <a:pt x="2346" y="1916"/>
                </a:cubicBezTo>
                <a:cubicBezTo>
                  <a:pt x="2350" y="1919"/>
                  <a:pt x="2355" y="1926"/>
                  <a:pt x="2359" y="1918"/>
                </a:cubicBezTo>
                <a:cubicBezTo>
                  <a:pt x="2363" y="1912"/>
                  <a:pt x="2358" y="1906"/>
                  <a:pt x="2352" y="1902"/>
                </a:cubicBezTo>
                <a:cubicBezTo>
                  <a:pt x="2340" y="1895"/>
                  <a:pt x="2326" y="1891"/>
                  <a:pt x="2312" y="1893"/>
                </a:cubicBezTo>
                <a:cubicBezTo>
                  <a:pt x="2309" y="1893"/>
                  <a:pt x="2304" y="1897"/>
                  <a:pt x="2304" y="1893"/>
                </a:cubicBezTo>
                <a:cubicBezTo>
                  <a:pt x="2302" y="1883"/>
                  <a:pt x="2291" y="1879"/>
                  <a:pt x="2289" y="1869"/>
                </a:cubicBezTo>
                <a:cubicBezTo>
                  <a:pt x="2296" y="1875"/>
                  <a:pt x="2307" y="1868"/>
                  <a:pt x="2313" y="1876"/>
                </a:cubicBezTo>
                <a:cubicBezTo>
                  <a:pt x="2322" y="1887"/>
                  <a:pt x="2334" y="1881"/>
                  <a:pt x="2345" y="1880"/>
                </a:cubicBezTo>
                <a:cubicBezTo>
                  <a:pt x="2351" y="1880"/>
                  <a:pt x="2358" y="1870"/>
                  <a:pt x="2346" y="1864"/>
                </a:cubicBezTo>
                <a:cubicBezTo>
                  <a:pt x="2343" y="1862"/>
                  <a:pt x="2340" y="1860"/>
                  <a:pt x="2342" y="1857"/>
                </a:cubicBezTo>
                <a:cubicBezTo>
                  <a:pt x="2345" y="1854"/>
                  <a:pt x="2348" y="1853"/>
                  <a:pt x="2351" y="1856"/>
                </a:cubicBezTo>
                <a:cubicBezTo>
                  <a:pt x="2356" y="1862"/>
                  <a:pt x="2362" y="1861"/>
                  <a:pt x="2369" y="1859"/>
                </a:cubicBezTo>
                <a:cubicBezTo>
                  <a:pt x="2368" y="1853"/>
                  <a:pt x="2362" y="1850"/>
                  <a:pt x="2361" y="1845"/>
                </a:cubicBezTo>
                <a:cubicBezTo>
                  <a:pt x="2359" y="1831"/>
                  <a:pt x="2351" y="1822"/>
                  <a:pt x="2338" y="1818"/>
                </a:cubicBezTo>
                <a:cubicBezTo>
                  <a:pt x="2332" y="1816"/>
                  <a:pt x="2331" y="1812"/>
                  <a:pt x="2328" y="1807"/>
                </a:cubicBezTo>
                <a:cubicBezTo>
                  <a:pt x="2322" y="1799"/>
                  <a:pt x="2324" y="1789"/>
                  <a:pt x="2318" y="1780"/>
                </a:cubicBezTo>
                <a:cubicBezTo>
                  <a:pt x="2314" y="1773"/>
                  <a:pt x="2326" y="1771"/>
                  <a:pt x="2330" y="1766"/>
                </a:cubicBezTo>
                <a:cubicBezTo>
                  <a:pt x="2333" y="1762"/>
                  <a:pt x="2334" y="1764"/>
                  <a:pt x="2336" y="1767"/>
                </a:cubicBezTo>
                <a:cubicBezTo>
                  <a:pt x="2338" y="1771"/>
                  <a:pt x="2341" y="1775"/>
                  <a:pt x="2345" y="1773"/>
                </a:cubicBezTo>
                <a:cubicBezTo>
                  <a:pt x="2349" y="1770"/>
                  <a:pt x="2347" y="1765"/>
                  <a:pt x="2347" y="1761"/>
                </a:cubicBezTo>
                <a:cubicBezTo>
                  <a:pt x="2346" y="1753"/>
                  <a:pt x="2345" y="1745"/>
                  <a:pt x="2334" y="1745"/>
                </a:cubicBezTo>
                <a:cubicBezTo>
                  <a:pt x="2337" y="1739"/>
                  <a:pt x="2343" y="1747"/>
                  <a:pt x="2344" y="1741"/>
                </a:cubicBezTo>
                <a:cubicBezTo>
                  <a:pt x="2346" y="1728"/>
                  <a:pt x="2360" y="1732"/>
                  <a:pt x="2362" y="1734"/>
                </a:cubicBezTo>
                <a:cubicBezTo>
                  <a:pt x="2369" y="1739"/>
                  <a:pt x="2374" y="1746"/>
                  <a:pt x="2384" y="1749"/>
                </a:cubicBezTo>
                <a:cubicBezTo>
                  <a:pt x="2393" y="1751"/>
                  <a:pt x="2399" y="1756"/>
                  <a:pt x="2409" y="1753"/>
                </a:cubicBezTo>
                <a:cubicBezTo>
                  <a:pt x="2420" y="1749"/>
                  <a:pt x="2432" y="1745"/>
                  <a:pt x="2441" y="1758"/>
                </a:cubicBezTo>
                <a:cubicBezTo>
                  <a:pt x="2444" y="1762"/>
                  <a:pt x="2449" y="1763"/>
                  <a:pt x="2451" y="1755"/>
                </a:cubicBezTo>
                <a:cubicBezTo>
                  <a:pt x="2452" y="1750"/>
                  <a:pt x="2457" y="1746"/>
                  <a:pt x="2454" y="1739"/>
                </a:cubicBezTo>
                <a:cubicBezTo>
                  <a:pt x="2468" y="1754"/>
                  <a:pt x="2480" y="1746"/>
                  <a:pt x="2493" y="1739"/>
                </a:cubicBezTo>
                <a:cubicBezTo>
                  <a:pt x="2503" y="1732"/>
                  <a:pt x="2513" y="1721"/>
                  <a:pt x="2528" y="1731"/>
                </a:cubicBezTo>
                <a:cubicBezTo>
                  <a:pt x="2536" y="1736"/>
                  <a:pt x="2548" y="1730"/>
                  <a:pt x="2552" y="1722"/>
                </a:cubicBezTo>
                <a:cubicBezTo>
                  <a:pt x="2557" y="1713"/>
                  <a:pt x="2558" y="1706"/>
                  <a:pt x="2570" y="1707"/>
                </a:cubicBezTo>
                <a:cubicBezTo>
                  <a:pt x="2573" y="1708"/>
                  <a:pt x="2577" y="1703"/>
                  <a:pt x="2581" y="1708"/>
                </a:cubicBezTo>
                <a:cubicBezTo>
                  <a:pt x="2586" y="1713"/>
                  <a:pt x="2592" y="1707"/>
                  <a:pt x="2595" y="1705"/>
                </a:cubicBezTo>
                <a:cubicBezTo>
                  <a:pt x="2599" y="1703"/>
                  <a:pt x="2595" y="1699"/>
                  <a:pt x="2593" y="1696"/>
                </a:cubicBezTo>
                <a:cubicBezTo>
                  <a:pt x="2585" y="1689"/>
                  <a:pt x="2585" y="1677"/>
                  <a:pt x="2577" y="1669"/>
                </a:cubicBezTo>
                <a:cubicBezTo>
                  <a:pt x="2573" y="1667"/>
                  <a:pt x="2569" y="1658"/>
                  <a:pt x="2576" y="1650"/>
                </a:cubicBezTo>
                <a:cubicBezTo>
                  <a:pt x="2577" y="1653"/>
                  <a:pt x="2577" y="1655"/>
                  <a:pt x="2577" y="1656"/>
                </a:cubicBezTo>
                <a:cubicBezTo>
                  <a:pt x="2577" y="1669"/>
                  <a:pt x="2588" y="1670"/>
                  <a:pt x="2596" y="1671"/>
                </a:cubicBezTo>
                <a:cubicBezTo>
                  <a:pt x="2604" y="1671"/>
                  <a:pt x="2602" y="1662"/>
                  <a:pt x="2603" y="1656"/>
                </a:cubicBezTo>
                <a:cubicBezTo>
                  <a:pt x="2604" y="1654"/>
                  <a:pt x="2604" y="1651"/>
                  <a:pt x="2606" y="1649"/>
                </a:cubicBezTo>
                <a:cubicBezTo>
                  <a:pt x="2607" y="1647"/>
                  <a:pt x="2613" y="1646"/>
                  <a:pt x="2612" y="1649"/>
                </a:cubicBezTo>
                <a:cubicBezTo>
                  <a:pt x="2610" y="1671"/>
                  <a:pt x="2619" y="1659"/>
                  <a:pt x="2627" y="1655"/>
                </a:cubicBezTo>
                <a:cubicBezTo>
                  <a:pt x="2634" y="1653"/>
                  <a:pt x="2635" y="1659"/>
                  <a:pt x="2637" y="1663"/>
                </a:cubicBezTo>
                <a:cubicBezTo>
                  <a:pt x="2638" y="1667"/>
                  <a:pt x="2640" y="1669"/>
                  <a:pt x="2644" y="1668"/>
                </a:cubicBezTo>
                <a:cubicBezTo>
                  <a:pt x="2648" y="1668"/>
                  <a:pt x="2649" y="1664"/>
                  <a:pt x="2648" y="1661"/>
                </a:cubicBezTo>
                <a:cubicBezTo>
                  <a:pt x="2643" y="1650"/>
                  <a:pt x="2651" y="1647"/>
                  <a:pt x="2660" y="1641"/>
                </a:cubicBezTo>
                <a:cubicBezTo>
                  <a:pt x="2655" y="1653"/>
                  <a:pt x="2665" y="1650"/>
                  <a:pt x="2670" y="1653"/>
                </a:cubicBezTo>
                <a:cubicBezTo>
                  <a:pt x="2678" y="1657"/>
                  <a:pt x="2687" y="1669"/>
                  <a:pt x="2695" y="1664"/>
                </a:cubicBezTo>
                <a:cubicBezTo>
                  <a:pt x="2704" y="1658"/>
                  <a:pt x="2697" y="1645"/>
                  <a:pt x="2696" y="1634"/>
                </a:cubicBezTo>
                <a:cubicBezTo>
                  <a:pt x="2694" y="1623"/>
                  <a:pt x="2698" y="1633"/>
                  <a:pt x="2701" y="1634"/>
                </a:cubicBezTo>
                <a:cubicBezTo>
                  <a:pt x="2708" y="1636"/>
                  <a:pt x="2715" y="1637"/>
                  <a:pt x="2721" y="1639"/>
                </a:cubicBezTo>
                <a:cubicBezTo>
                  <a:pt x="2725" y="1640"/>
                  <a:pt x="2730" y="1637"/>
                  <a:pt x="2729" y="1636"/>
                </a:cubicBezTo>
                <a:cubicBezTo>
                  <a:pt x="2724" y="1625"/>
                  <a:pt x="2741" y="1610"/>
                  <a:pt x="2722" y="1603"/>
                </a:cubicBezTo>
                <a:cubicBezTo>
                  <a:pt x="2720" y="1602"/>
                  <a:pt x="2717" y="1599"/>
                  <a:pt x="2719" y="1594"/>
                </a:cubicBezTo>
                <a:cubicBezTo>
                  <a:pt x="2727" y="1594"/>
                  <a:pt x="2738" y="1602"/>
                  <a:pt x="2742" y="1589"/>
                </a:cubicBezTo>
                <a:cubicBezTo>
                  <a:pt x="2745" y="1578"/>
                  <a:pt x="2732" y="1578"/>
                  <a:pt x="2727" y="1574"/>
                </a:cubicBezTo>
                <a:close/>
                <a:moveTo>
                  <a:pt x="2644" y="1262"/>
                </a:moveTo>
                <a:cubicBezTo>
                  <a:pt x="2648" y="1262"/>
                  <a:pt x="2652" y="1263"/>
                  <a:pt x="2651" y="1255"/>
                </a:cubicBezTo>
                <a:cubicBezTo>
                  <a:pt x="2649" y="1254"/>
                  <a:pt x="2647" y="1251"/>
                  <a:pt x="2645" y="1248"/>
                </a:cubicBezTo>
                <a:cubicBezTo>
                  <a:pt x="2639" y="1243"/>
                  <a:pt x="2641" y="1237"/>
                  <a:pt x="2645" y="1233"/>
                </a:cubicBezTo>
                <a:cubicBezTo>
                  <a:pt x="2651" y="1227"/>
                  <a:pt x="2652" y="1235"/>
                  <a:pt x="2655" y="1238"/>
                </a:cubicBezTo>
                <a:cubicBezTo>
                  <a:pt x="2665" y="1245"/>
                  <a:pt x="2664" y="1260"/>
                  <a:pt x="2676" y="1266"/>
                </a:cubicBezTo>
                <a:cubicBezTo>
                  <a:pt x="2678" y="1266"/>
                  <a:pt x="2677" y="1269"/>
                  <a:pt x="2676" y="1271"/>
                </a:cubicBezTo>
                <a:cubicBezTo>
                  <a:pt x="2674" y="1273"/>
                  <a:pt x="2671" y="1273"/>
                  <a:pt x="2669" y="1272"/>
                </a:cubicBezTo>
                <a:cubicBezTo>
                  <a:pt x="2662" y="1268"/>
                  <a:pt x="2655" y="1268"/>
                  <a:pt x="2647" y="1270"/>
                </a:cubicBezTo>
                <a:cubicBezTo>
                  <a:pt x="2645" y="1271"/>
                  <a:pt x="2642" y="1275"/>
                  <a:pt x="2642" y="1269"/>
                </a:cubicBezTo>
                <a:cubicBezTo>
                  <a:pt x="2641" y="1266"/>
                  <a:pt x="2638" y="1262"/>
                  <a:pt x="2644" y="1262"/>
                </a:cubicBezTo>
                <a:close/>
                <a:moveTo>
                  <a:pt x="698" y="458"/>
                </a:moveTo>
                <a:cubicBezTo>
                  <a:pt x="688" y="461"/>
                  <a:pt x="681" y="468"/>
                  <a:pt x="672" y="474"/>
                </a:cubicBezTo>
                <a:cubicBezTo>
                  <a:pt x="670" y="467"/>
                  <a:pt x="676" y="463"/>
                  <a:pt x="677" y="458"/>
                </a:cubicBezTo>
                <a:cubicBezTo>
                  <a:pt x="680" y="451"/>
                  <a:pt x="680" y="443"/>
                  <a:pt x="674" y="436"/>
                </a:cubicBezTo>
                <a:cubicBezTo>
                  <a:pt x="670" y="431"/>
                  <a:pt x="665" y="424"/>
                  <a:pt x="673" y="421"/>
                </a:cubicBezTo>
                <a:cubicBezTo>
                  <a:pt x="677" y="419"/>
                  <a:pt x="687" y="421"/>
                  <a:pt x="690" y="428"/>
                </a:cubicBezTo>
                <a:cubicBezTo>
                  <a:pt x="693" y="436"/>
                  <a:pt x="694" y="444"/>
                  <a:pt x="701" y="450"/>
                </a:cubicBezTo>
                <a:cubicBezTo>
                  <a:pt x="706" y="454"/>
                  <a:pt x="702" y="457"/>
                  <a:pt x="698" y="458"/>
                </a:cubicBezTo>
                <a:close/>
                <a:moveTo>
                  <a:pt x="713" y="260"/>
                </a:moveTo>
                <a:cubicBezTo>
                  <a:pt x="712" y="267"/>
                  <a:pt x="710" y="274"/>
                  <a:pt x="710" y="282"/>
                </a:cubicBezTo>
                <a:cubicBezTo>
                  <a:pt x="709" y="288"/>
                  <a:pt x="696" y="293"/>
                  <a:pt x="709" y="300"/>
                </a:cubicBezTo>
                <a:cubicBezTo>
                  <a:pt x="696" y="307"/>
                  <a:pt x="706" y="316"/>
                  <a:pt x="706" y="323"/>
                </a:cubicBezTo>
                <a:cubicBezTo>
                  <a:pt x="706" y="324"/>
                  <a:pt x="704" y="326"/>
                  <a:pt x="703" y="326"/>
                </a:cubicBezTo>
                <a:cubicBezTo>
                  <a:pt x="702" y="326"/>
                  <a:pt x="700" y="325"/>
                  <a:pt x="700" y="323"/>
                </a:cubicBezTo>
                <a:cubicBezTo>
                  <a:pt x="700" y="321"/>
                  <a:pt x="701" y="317"/>
                  <a:pt x="697" y="316"/>
                </a:cubicBezTo>
                <a:cubicBezTo>
                  <a:pt x="692" y="314"/>
                  <a:pt x="692" y="303"/>
                  <a:pt x="683" y="308"/>
                </a:cubicBezTo>
                <a:cubicBezTo>
                  <a:pt x="675" y="312"/>
                  <a:pt x="674" y="318"/>
                  <a:pt x="678" y="326"/>
                </a:cubicBezTo>
                <a:cubicBezTo>
                  <a:pt x="681" y="333"/>
                  <a:pt x="678" y="339"/>
                  <a:pt x="669" y="341"/>
                </a:cubicBezTo>
                <a:cubicBezTo>
                  <a:pt x="663" y="342"/>
                  <a:pt x="659" y="343"/>
                  <a:pt x="652" y="336"/>
                </a:cubicBezTo>
                <a:cubicBezTo>
                  <a:pt x="638" y="323"/>
                  <a:pt x="653" y="307"/>
                  <a:pt x="642" y="296"/>
                </a:cubicBezTo>
                <a:cubicBezTo>
                  <a:pt x="639" y="292"/>
                  <a:pt x="645" y="287"/>
                  <a:pt x="648" y="285"/>
                </a:cubicBezTo>
                <a:cubicBezTo>
                  <a:pt x="653" y="282"/>
                  <a:pt x="654" y="287"/>
                  <a:pt x="656" y="290"/>
                </a:cubicBezTo>
                <a:cubicBezTo>
                  <a:pt x="660" y="295"/>
                  <a:pt x="663" y="300"/>
                  <a:pt x="670" y="298"/>
                </a:cubicBezTo>
                <a:cubicBezTo>
                  <a:pt x="675" y="296"/>
                  <a:pt x="678" y="292"/>
                  <a:pt x="673" y="285"/>
                </a:cubicBezTo>
                <a:cubicBezTo>
                  <a:pt x="682" y="289"/>
                  <a:pt x="687" y="296"/>
                  <a:pt x="697" y="294"/>
                </a:cubicBezTo>
                <a:cubicBezTo>
                  <a:pt x="699" y="287"/>
                  <a:pt x="686" y="284"/>
                  <a:pt x="691" y="277"/>
                </a:cubicBezTo>
                <a:cubicBezTo>
                  <a:pt x="697" y="270"/>
                  <a:pt x="705" y="265"/>
                  <a:pt x="708" y="255"/>
                </a:cubicBezTo>
                <a:cubicBezTo>
                  <a:pt x="708" y="253"/>
                  <a:pt x="713" y="256"/>
                  <a:pt x="713" y="260"/>
                </a:cubicBezTo>
                <a:close/>
                <a:moveTo>
                  <a:pt x="970" y="191"/>
                </a:moveTo>
                <a:cubicBezTo>
                  <a:pt x="974" y="181"/>
                  <a:pt x="985" y="181"/>
                  <a:pt x="989" y="182"/>
                </a:cubicBezTo>
                <a:cubicBezTo>
                  <a:pt x="1007" y="188"/>
                  <a:pt x="997" y="175"/>
                  <a:pt x="999" y="169"/>
                </a:cubicBezTo>
                <a:cubicBezTo>
                  <a:pt x="1011" y="173"/>
                  <a:pt x="1010" y="189"/>
                  <a:pt x="1022" y="195"/>
                </a:cubicBezTo>
                <a:cubicBezTo>
                  <a:pt x="1025" y="196"/>
                  <a:pt x="1016" y="207"/>
                  <a:pt x="1012" y="207"/>
                </a:cubicBezTo>
                <a:cubicBezTo>
                  <a:pt x="1002" y="205"/>
                  <a:pt x="993" y="206"/>
                  <a:pt x="984" y="205"/>
                </a:cubicBezTo>
                <a:cubicBezTo>
                  <a:pt x="980" y="205"/>
                  <a:pt x="965" y="205"/>
                  <a:pt x="970" y="191"/>
                </a:cubicBezTo>
                <a:close/>
                <a:moveTo>
                  <a:pt x="958" y="1793"/>
                </a:moveTo>
                <a:cubicBezTo>
                  <a:pt x="990" y="1798"/>
                  <a:pt x="999" y="1798"/>
                  <a:pt x="1004" y="1829"/>
                </a:cubicBezTo>
                <a:cubicBezTo>
                  <a:pt x="1002" y="1820"/>
                  <a:pt x="995" y="1819"/>
                  <a:pt x="987" y="1819"/>
                </a:cubicBezTo>
                <a:cubicBezTo>
                  <a:pt x="980" y="1819"/>
                  <a:pt x="973" y="1818"/>
                  <a:pt x="965" y="1818"/>
                </a:cubicBezTo>
                <a:cubicBezTo>
                  <a:pt x="962" y="1818"/>
                  <a:pt x="958" y="1814"/>
                  <a:pt x="961" y="1813"/>
                </a:cubicBezTo>
                <a:cubicBezTo>
                  <a:pt x="972" y="1804"/>
                  <a:pt x="960" y="1799"/>
                  <a:pt x="958" y="1793"/>
                </a:cubicBezTo>
                <a:close/>
                <a:moveTo>
                  <a:pt x="912" y="122"/>
                </a:moveTo>
                <a:cubicBezTo>
                  <a:pt x="914" y="122"/>
                  <a:pt x="917" y="122"/>
                  <a:pt x="919" y="122"/>
                </a:cubicBezTo>
                <a:cubicBezTo>
                  <a:pt x="927" y="122"/>
                  <a:pt x="920" y="106"/>
                  <a:pt x="930" y="111"/>
                </a:cubicBezTo>
                <a:cubicBezTo>
                  <a:pt x="932" y="113"/>
                  <a:pt x="931" y="122"/>
                  <a:pt x="938" y="127"/>
                </a:cubicBezTo>
                <a:cubicBezTo>
                  <a:pt x="945" y="131"/>
                  <a:pt x="937" y="140"/>
                  <a:pt x="934" y="146"/>
                </a:cubicBezTo>
                <a:cubicBezTo>
                  <a:pt x="932" y="151"/>
                  <a:pt x="926" y="150"/>
                  <a:pt x="922" y="144"/>
                </a:cubicBezTo>
                <a:cubicBezTo>
                  <a:pt x="917" y="135"/>
                  <a:pt x="908" y="129"/>
                  <a:pt x="898" y="125"/>
                </a:cubicBezTo>
                <a:cubicBezTo>
                  <a:pt x="903" y="121"/>
                  <a:pt x="907" y="123"/>
                  <a:pt x="912" y="122"/>
                </a:cubicBezTo>
                <a:close/>
                <a:moveTo>
                  <a:pt x="908" y="1758"/>
                </a:moveTo>
                <a:cubicBezTo>
                  <a:pt x="902" y="1749"/>
                  <a:pt x="893" y="1742"/>
                  <a:pt x="894" y="1728"/>
                </a:cubicBezTo>
                <a:cubicBezTo>
                  <a:pt x="904" y="1734"/>
                  <a:pt x="914" y="1738"/>
                  <a:pt x="913" y="1720"/>
                </a:cubicBezTo>
                <a:cubicBezTo>
                  <a:pt x="920" y="1722"/>
                  <a:pt x="920" y="1727"/>
                  <a:pt x="921" y="1730"/>
                </a:cubicBezTo>
                <a:cubicBezTo>
                  <a:pt x="925" y="1738"/>
                  <a:pt x="929" y="1739"/>
                  <a:pt x="934" y="1733"/>
                </a:cubicBezTo>
                <a:cubicBezTo>
                  <a:pt x="935" y="1731"/>
                  <a:pt x="936" y="1728"/>
                  <a:pt x="938" y="1728"/>
                </a:cubicBezTo>
                <a:cubicBezTo>
                  <a:pt x="950" y="1722"/>
                  <a:pt x="950" y="1722"/>
                  <a:pt x="940" y="1712"/>
                </a:cubicBezTo>
                <a:cubicBezTo>
                  <a:pt x="939" y="1711"/>
                  <a:pt x="938" y="1710"/>
                  <a:pt x="937" y="1708"/>
                </a:cubicBezTo>
                <a:cubicBezTo>
                  <a:pt x="936" y="1707"/>
                  <a:pt x="937" y="1706"/>
                  <a:pt x="936" y="1704"/>
                </a:cubicBezTo>
                <a:cubicBezTo>
                  <a:pt x="946" y="1705"/>
                  <a:pt x="956" y="1705"/>
                  <a:pt x="966" y="1706"/>
                </a:cubicBezTo>
                <a:cubicBezTo>
                  <a:pt x="964" y="1713"/>
                  <a:pt x="958" y="1710"/>
                  <a:pt x="954" y="1712"/>
                </a:cubicBezTo>
                <a:cubicBezTo>
                  <a:pt x="958" y="1717"/>
                  <a:pt x="962" y="1725"/>
                  <a:pt x="965" y="1727"/>
                </a:cubicBezTo>
                <a:cubicBezTo>
                  <a:pt x="982" y="1736"/>
                  <a:pt x="980" y="1753"/>
                  <a:pt x="987" y="1765"/>
                </a:cubicBezTo>
                <a:cubicBezTo>
                  <a:pt x="989" y="1768"/>
                  <a:pt x="990" y="1771"/>
                  <a:pt x="990" y="1774"/>
                </a:cubicBezTo>
                <a:cubicBezTo>
                  <a:pt x="991" y="1780"/>
                  <a:pt x="998" y="1787"/>
                  <a:pt x="992" y="1792"/>
                </a:cubicBezTo>
                <a:cubicBezTo>
                  <a:pt x="986" y="1796"/>
                  <a:pt x="980" y="1789"/>
                  <a:pt x="974" y="1787"/>
                </a:cubicBezTo>
                <a:cubicBezTo>
                  <a:pt x="967" y="1786"/>
                  <a:pt x="971" y="1784"/>
                  <a:pt x="974" y="1782"/>
                </a:cubicBezTo>
                <a:cubicBezTo>
                  <a:pt x="976" y="1780"/>
                  <a:pt x="974" y="1777"/>
                  <a:pt x="973" y="1777"/>
                </a:cubicBezTo>
                <a:cubicBezTo>
                  <a:pt x="960" y="1773"/>
                  <a:pt x="950" y="1763"/>
                  <a:pt x="938" y="1757"/>
                </a:cubicBezTo>
                <a:cubicBezTo>
                  <a:pt x="933" y="1754"/>
                  <a:pt x="929" y="1756"/>
                  <a:pt x="925" y="1761"/>
                </a:cubicBezTo>
                <a:cubicBezTo>
                  <a:pt x="919" y="1767"/>
                  <a:pt x="913" y="1768"/>
                  <a:pt x="908" y="1758"/>
                </a:cubicBezTo>
                <a:close/>
                <a:moveTo>
                  <a:pt x="911" y="1868"/>
                </a:moveTo>
                <a:cubicBezTo>
                  <a:pt x="927" y="1863"/>
                  <a:pt x="924" y="1845"/>
                  <a:pt x="929" y="1832"/>
                </a:cubicBezTo>
                <a:cubicBezTo>
                  <a:pt x="946" y="1842"/>
                  <a:pt x="954" y="1860"/>
                  <a:pt x="969" y="1873"/>
                </a:cubicBezTo>
                <a:cubicBezTo>
                  <a:pt x="961" y="1878"/>
                  <a:pt x="952" y="1877"/>
                  <a:pt x="948" y="1886"/>
                </a:cubicBezTo>
                <a:cubicBezTo>
                  <a:pt x="945" y="1892"/>
                  <a:pt x="935" y="1885"/>
                  <a:pt x="933" y="1881"/>
                </a:cubicBezTo>
                <a:cubicBezTo>
                  <a:pt x="927" y="1872"/>
                  <a:pt x="920" y="1868"/>
                  <a:pt x="911" y="1868"/>
                </a:cubicBezTo>
                <a:close/>
                <a:moveTo>
                  <a:pt x="1049" y="2006"/>
                </a:moveTo>
                <a:cubicBezTo>
                  <a:pt x="1047" y="2018"/>
                  <a:pt x="1035" y="2006"/>
                  <a:pt x="1027" y="2010"/>
                </a:cubicBezTo>
                <a:cubicBezTo>
                  <a:pt x="1020" y="2014"/>
                  <a:pt x="1011" y="2014"/>
                  <a:pt x="1003" y="2015"/>
                </a:cubicBezTo>
                <a:cubicBezTo>
                  <a:pt x="997" y="2016"/>
                  <a:pt x="992" y="2018"/>
                  <a:pt x="988" y="2012"/>
                </a:cubicBezTo>
                <a:cubicBezTo>
                  <a:pt x="983" y="2001"/>
                  <a:pt x="968" y="2012"/>
                  <a:pt x="964" y="1998"/>
                </a:cubicBezTo>
                <a:cubicBezTo>
                  <a:pt x="970" y="1995"/>
                  <a:pt x="975" y="1999"/>
                  <a:pt x="980" y="2001"/>
                </a:cubicBezTo>
                <a:cubicBezTo>
                  <a:pt x="983" y="2003"/>
                  <a:pt x="986" y="2007"/>
                  <a:pt x="989" y="2002"/>
                </a:cubicBezTo>
                <a:cubicBezTo>
                  <a:pt x="991" y="1998"/>
                  <a:pt x="990" y="1993"/>
                  <a:pt x="986" y="1990"/>
                </a:cubicBezTo>
                <a:cubicBezTo>
                  <a:pt x="977" y="1983"/>
                  <a:pt x="966" y="1985"/>
                  <a:pt x="957" y="1985"/>
                </a:cubicBezTo>
                <a:cubicBezTo>
                  <a:pt x="949" y="1986"/>
                  <a:pt x="942" y="1982"/>
                  <a:pt x="934" y="1982"/>
                </a:cubicBezTo>
                <a:cubicBezTo>
                  <a:pt x="939" y="1967"/>
                  <a:pt x="974" y="1968"/>
                  <a:pt x="950" y="1943"/>
                </a:cubicBezTo>
                <a:cubicBezTo>
                  <a:pt x="961" y="1945"/>
                  <a:pt x="974" y="1953"/>
                  <a:pt x="977" y="1961"/>
                </a:cubicBezTo>
                <a:cubicBezTo>
                  <a:pt x="979" y="1969"/>
                  <a:pt x="984" y="1973"/>
                  <a:pt x="989" y="1979"/>
                </a:cubicBezTo>
                <a:cubicBezTo>
                  <a:pt x="1000" y="1992"/>
                  <a:pt x="1025" y="1988"/>
                  <a:pt x="1031" y="1972"/>
                </a:cubicBezTo>
                <a:cubicBezTo>
                  <a:pt x="1033" y="1975"/>
                  <a:pt x="1036" y="1978"/>
                  <a:pt x="1038" y="1981"/>
                </a:cubicBezTo>
                <a:cubicBezTo>
                  <a:pt x="1042" y="1989"/>
                  <a:pt x="1051" y="1999"/>
                  <a:pt x="1049" y="2006"/>
                </a:cubicBezTo>
                <a:close/>
                <a:moveTo>
                  <a:pt x="1148" y="1825"/>
                </a:moveTo>
                <a:cubicBezTo>
                  <a:pt x="1152" y="1820"/>
                  <a:pt x="1154" y="1826"/>
                  <a:pt x="1157" y="1827"/>
                </a:cubicBezTo>
                <a:cubicBezTo>
                  <a:pt x="1169" y="1833"/>
                  <a:pt x="1172" y="1824"/>
                  <a:pt x="1169" y="1816"/>
                </a:cubicBezTo>
                <a:cubicBezTo>
                  <a:pt x="1166" y="1807"/>
                  <a:pt x="1172" y="1805"/>
                  <a:pt x="1177" y="1805"/>
                </a:cubicBezTo>
                <a:cubicBezTo>
                  <a:pt x="1183" y="1805"/>
                  <a:pt x="1188" y="1792"/>
                  <a:pt x="1196" y="1807"/>
                </a:cubicBezTo>
                <a:cubicBezTo>
                  <a:pt x="1204" y="1822"/>
                  <a:pt x="1210" y="1836"/>
                  <a:pt x="1210" y="1853"/>
                </a:cubicBezTo>
                <a:cubicBezTo>
                  <a:pt x="1210" y="1859"/>
                  <a:pt x="1207" y="1870"/>
                  <a:pt x="1223" y="1861"/>
                </a:cubicBezTo>
                <a:cubicBezTo>
                  <a:pt x="1214" y="1873"/>
                  <a:pt x="1208" y="1872"/>
                  <a:pt x="1199" y="1867"/>
                </a:cubicBezTo>
                <a:cubicBezTo>
                  <a:pt x="1186" y="1859"/>
                  <a:pt x="1173" y="1854"/>
                  <a:pt x="1159" y="1849"/>
                </a:cubicBezTo>
                <a:cubicBezTo>
                  <a:pt x="1154" y="1847"/>
                  <a:pt x="1150" y="1844"/>
                  <a:pt x="1147" y="1840"/>
                </a:cubicBezTo>
                <a:cubicBezTo>
                  <a:pt x="1144" y="1835"/>
                  <a:pt x="1145" y="1829"/>
                  <a:pt x="1148" y="1825"/>
                </a:cubicBezTo>
                <a:close/>
                <a:moveTo>
                  <a:pt x="1090" y="261"/>
                </a:moveTo>
                <a:cubicBezTo>
                  <a:pt x="1092" y="249"/>
                  <a:pt x="1094" y="237"/>
                  <a:pt x="1106" y="229"/>
                </a:cubicBezTo>
                <a:cubicBezTo>
                  <a:pt x="1107" y="228"/>
                  <a:pt x="1109" y="228"/>
                  <a:pt x="1110" y="227"/>
                </a:cubicBezTo>
                <a:cubicBezTo>
                  <a:pt x="1119" y="219"/>
                  <a:pt x="1128" y="221"/>
                  <a:pt x="1131" y="233"/>
                </a:cubicBezTo>
                <a:cubicBezTo>
                  <a:pt x="1132" y="236"/>
                  <a:pt x="1139" y="246"/>
                  <a:pt x="1124" y="246"/>
                </a:cubicBezTo>
                <a:cubicBezTo>
                  <a:pt x="1118" y="246"/>
                  <a:pt x="1100" y="244"/>
                  <a:pt x="1101" y="262"/>
                </a:cubicBezTo>
                <a:cubicBezTo>
                  <a:pt x="1101" y="265"/>
                  <a:pt x="1097" y="265"/>
                  <a:pt x="1095" y="265"/>
                </a:cubicBezTo>
                <a:cubicBezTo>
                  <a:pt x="1092" y="265"/>
                  <a:pt x="1089" y="265"/>
                  <a:pt x="1090" y="261"/>
                </a:cubicBezTo>
                <a:close/>
                <a:moveTo>
                  <a:pt x="1091" y="1937"/>
                </a:moveTo>
                <a:cubicBezTo>
                  <a:pt x="1083" y="1935"/>
                  <a:pt x="1084" y="1943"/>
                  <a:pt x="1082" y="1948"/>
                </a:cubicBezTo>
                <a:cubicBezTo>
                  <a:pt x="1080" y="1953"/>
                  <a:pt x="1077" y="1956"/>
                  <a:pt x="1072" y="1950"/>
                </a:cubicBezTo>
                <a:cubicBezTo>
                  <a:pt x="1064" y="1940"/>
                  <a:pt x="1065" y="1919"/>
                  <a:pt x="1072" y="1909"/>
                </a:cubicBezTo>
                <a:cubicBezTo>
                  <a:pt x="1078" y="1901"/>
                  <a:pt x="1068" y="1890"/>
                  <a:pt x="1076" y="1881"/>
                </a:cubicBezTo>
                <a:cubicBezTo>
                  <a:pt x="1078" y="1880"/>
                  <a:pt x="1071" y="1876"/>
                  <a:pt x="1064" y="1875"/>
                </a:cubicBezTo>
                <a:cubicBezTo>
                  <a:pt x="1079" y="1862"/>
                  <a:pt x="1096" y="1850"/>
                  <a:pt x="1092" y="1828"/>
                </a:cubicBezTo>
                <a:cubicBezTo>
                  <a:pt x="1093" y="1835"/>
                  <a:pt x="1103" y="1837"/>
                  <a:pt x="1102" y="1843"/>
                </a:cubicBezTo>
                <a:cubicBezTo>
                  <a:pt x="1101" y="1849"/>
                  <a:pt x="1097" y="1855"/>
                  <a:pt x="1101" y="1862"/>
                </a:cubicBezTo>
                <a:cubicBezTo>
                  <a:pt x="1103" y="1865"/>
                  <a:pt x="1099" y="1864"/>
                  <a:pt x="1097" y="1864"/>
                </a:cubicBezTo>
                <a:cubicBezTo>
                  <a:pt x="1093" y="1864"/>
                  <a:pt x="1089" y="1865"/>
                  <a:pt x="1088" y="1869"/>
                </a:cubicBezTo>
                <a:cubicBezTo>
                  <a:pt x="1088" y="1874"/>
                  <a:pt x="1091" y="1878"/>
                  <a:pt x="1096" y="1880"/>
                </a:cubicBezTo>
                <a:cubicBezTo>
                  <a:pt x="1102" y="1882"/>
                  <a:pt x="1106" y="1886"/>
                  <a:pt x="1101" y="1897"/>
                </a:cubicBezTo>
                <a:cubicBezTo>
                  <a:pt x="1100" y="1886"/>
                  <a:pt x="1095" y="1884"/>
                  <a:pt x="1089" y="1887"/>
                </a:cubicBezTo>
                <a:cubicBezTo>
                  <a:pt x="1085" y="1889"/>
                  <a:pt x="1077" y="1885"/>
                  <a:pt x="1078" y="1892"/>
                </a:cubicBezTo>
                <a:cubicBezTo>
                  <a:pt x="1078" y="1900"/>
                  <a:pt x="1079" y="1911"/>
                  <a:pt x="1087" y="1915"/>
                </a:cubicBezTo>
                <a:cubicBezTo>
                  <a:pt x="1093" y="1918"/>
                  <a:pt x="1097" y="1923"/>
                  <a:pt x="1102" y="1927"/>
                </a:cubicBezTo>
                <a:cubicBezTo>
                  <a:pt x="1106" y="1931"/>
                  <a:pt x="1114" y="1932"/>
                  <a:pt x="1120" y="1934"/>
                </a:cubicBezTo>
                <a:cubicBezTo>
                  <a:pt x="1110" y="1934"/>
                  <a:pt x="1101" y="1941"/>
                  <a:pt x="1091" y="1937"/>
                </a:cubicBezTo>
                <a:close/>
                <a:moveTo>
                  <a:pt x="1347" y="2375"/>
                </a:moveTo>
                <a:cubicBezTo>
                  <a:pt x="1334" y="2390"/>
                  <a:pt x="1327" y="2403"/>
                  <a:pt x="1326" y="2422"/>
                </a:cubicBezTo>
                <a:cubicBezTo>
                  <a:pt x="1326" y="2431"/>
                  <a:pt x="1331" y="2445"/>
                  <a:pt x="1323" y="2448"/>
                </a:cubicBezTo>
                <a:cubicBezTo>
                  <a:pt x="1315" y="2451"/>
                  <a:pt x="1309" y="2438"/>
                  <a:pt x="1303" y="2431"/>
                </a:cubicBezTo>
                <a:cubicBezTo>
                  <a:pt x="1279" y="2407"/>
                  <a:pt x="1261" y="2378"/>
                  <a:pt x="1242" y="2349"/>
                </a:cubicBezTo>
                <a:cubicBezTo>
                  <a:pt x="1224" y="2320"/>
                  <a:pt x="1208" y="2291"/>
                  <a:pt x="1195" y="2260"/>
                </a:cubicBezTo>
                <a:cubicBezTo>
                  <a:pt x="1179" y="2223"/>
                  <a:pt x="1156" y="2189"/>
                  <a:pt x="1149" y="2148"/>
                </a:cubicBezTo>
                <a:cubicBezTo>
                  <a:pt x="1144" y="2114"/>
                  <a:pt x="1131" y="2082"/>
                  <a:pt x="1121" y="2049"/>
                </a:cubicBezTo>
                <a:cubicBezTo>
                  <a:pt x="1119" y="2042"/>
                  <a:pt x="1119" y="2034"/>
                  <a:pt x="1124" y="2029"/>
                </a:cubicBezTo>
                <a:cubicBezTo>
                  <a:pt x="1130" y="2024"/>
                  <a:pt x="1136" y="2027"/>
                  <a:pt x="1143" y="2030"/>
                </a:cubicBezTo>
                <a:cubicBezTo>
                  <a:pt x="1148" y="2033"/>
                  <a:pt x="1156" y="2038"/>
                  <a:pt x="1151" y="2025"/>
                </a:cubicBezTo>
                <a:cubicBezTo>
                  <a:pt x="1149" y="2021"/>
                  <a:pt x="1150" y="2020"/>
                  <a:pt x="1154" y="2020"/>
                </a:cubicBezTo>
                <a:cubicBezTo>
                  <a:pt x="1168" y="2022"/>
                  <a:pt x="1153" y="2011"/>
                  <a:pt x="1159" y="2008"/>
                </a:cubicBezTo>
                <a:cubicBezTo>
                  <a:pt x="1165" y="2005"/>
                  <a:pt x="1171" y="2012"/>
                  <a:pt x="1177" y="2008"/>
                </a:cubicBezTo>
                <a:cubicBezTo>
                  <a:pt x="1178" y="2007"/>
                  <a:pt x="1179" y="2005"/>
                  <a:pt x="1179" y="2004"/>
                </a:cubicBezTo>
                <a:cubicBezTo>
                  <a:pt x="1179" y="1988"/>
                  <a:pt x="1188" y="1990"/>
                  <a:pt x="1199" y="1996"/>
                </a:cubicBezTo>
                <a:cubicBezTo>
                  <a:pt x="1203" y="1981"/>
                  <a:pt x="1179" y="1982"/>
                  <a:pt x="1186" y="1967"/>
                </a:cubicBezTo>
                <a:cubicBezTo>
                  <a:pt x="1197" y="1969"/>
                  <a:pt x="1208" y="1974"/>
                  <a:pt x="1219" y="1966"/>
                </a:cubicBezTo>
                <a:cubicBezTo>
                  <a:pt x="1225" y="1961"/>
                  <a:pt x="1230" y="1971"/>
                  <a:pt x="1234" y="1975"/>
                </a:cubicBezTo>
                <a:cubicBezTo>
                  <a:pt x="1236" y="1977"/>
                  <a:pt x="1236" y="1982"/>
                  <a:pt x="1240" y="1981"/>
                </a:cubicBezTo>
                <a:cubicBezTo>
                  <a:pt x="1244" y="1979"/>
                  <a:pt x="1244" y="1975"/>
                  <a:pt x="1243" y="1972"/>
                </a:cubicBezTo>
                <a:cubicBezTo>
                  <a:pt x="1239" y="1965"/>
                  <a:pt x="1239" y="1961"/>
                  <a:pt x="1249" y="1960"/>
                </a:cubicBezTo>
                <a:cubicBezTo>
                  <a:pt x="1259" y="1959"/>
                  <a:pt x="1255" y="1953"/>
                  <a:pt x="1250" y="1950"/>
                </a:cubicBezTo>
                <a:cubicBezTo>
                  <a:pt x="1243" y="1946"/>
                  <a:pt x="1240" y="1940"/>
                  <a:pt x="1240" y="1933"/>
                </a:cubicBezTo>
                <a:cubicBezTo>
                  <a:pt x="1254" y="1931"/>
                  <a:pt x="1268" y="1934"/>
                  <a:pt x="1281" y="1936"/>
                </a:cubicBezTo>
                <a:cubicBezTo>
                  <a:pt x="1287" y="1937"/>
                  <a:pt x="1288" y="1944"/>
                  <a:pt x="1290" y="1949"/>
                </a:cubicBezTo>
                <a:cubicBezTo>
                  <a:pt x="1292" y="1953"/>
                  <a:pt x="1295" y="1957"/>
                  <a:pt x="1301" y="1957"/>
                </a:cubicBezTo>
                <a:cubicBezTo>
                  <a:pt x="1307" y="1957"/>
                  <a:pt x="1306" y="1951"/>
                  <a:pt x="1306" y="1947"/>
                </a:cubicBezTo>
                <a:cubicBezTo>
                  <a:pt x="1307" y="1945"/>
                  <a:pt x="1307" y="1942"/>
                  <a:pt x="1311" y="1942"/>
                </a:cubicBezTo>
                <a:cubicBezTo>
                  <a:pt x="1314" y="1943"/>
                  <a:pt x="1315" y="1944"/>
                  <a:pt x="1317" y="1947"/>
                </a:cubicBezTo>
                <a:cubicBezTo>
                  <a:pt x="1322" y="1956"/>
                  <a:pt x="1325" y="1974"/>
                  <a:pt x="1340" y="1954"/>
                </a:cubicBezTo>
                <a:cubicBezTo>
                  <a:pt x="1342" y="1951"/>
                  <a:pt x="1346" y="1956"/>
                  <a:pt x="1348" y="1958"/>
                </a:cubicBezTo>
                <a:cubicBezTo>
                  <a:pt x="1362" y="1968"/>
                  <a:pt x="1361" y="1984"/>
                  <a:pt x="1363" y="1999"/>
                </a:cubicBezTo>
                <a:cubicBezTo>
                  <a:pt x="1368" y="2029"/>
                  <a:pt x="1370" y="2058"/>
                  <a:pt x="1357" y="2087"/>
                </a:cubicBezTo>
                <a:cubicBezTo>
                  <a:pt x="1355" y="2093"/>
                  <a:pt x="1351" y="2093"/>
                  <a:pt x="1346" y="2095"/>
                </a:cubicBezTo>
                <a:cubicBezTo>
                  <a:pt x="1342" y="2097"/>
                  <a:pt x="1339" y="2102"/>
                  <a:pt x="1341" y="2107"/>
                </a:cubicBezTo>
                <a:cubicBezTo>
                  <a:pt x="1343" y="2113"/>
                  <a:pt x="1348" y="2110"/>
                  <a:pt x="1351" y="2107"/>
                </a:cubicBezTo>
                <a:cubicBezTo>
                  <a:pt x="1358" y="2102"/>
                  <a:pt x="1360" y="2107"/>
                  <a:pt x="1363" y="2112"/>
                </a:cubicBezTo>
                <a:cubicBezTo>
                  <a:pt x="1369" y="2123"/>
                  <a:pt x="1371" y="2137"/>
                  <a:pt x="1371" y="2150"/>
                </a:cubicBezTo>
                <a:cubicBezTo>
                  <a:pt x="1371" y="2178"/>
                  <a:pt x="1373" y="2206"/>
                  <a:pt x="1371" y="2234"/>
                </a:cubicBezTo>
                <a:cubicBezTo>
                  <a:pt x="1370" y="2250"/>
                  <a:pt x="1373" y="2266"/>
                  <a:pt x="1364" y="2281"/>
                </a:cubicBezTo>
                <a:cubicBezTo>
                  <a:pt x="1361" y="2285"/>
                  <a:pt x="1361" y="2290"/>
                  <a:pt x="1365" y="2294"/>
                </a:cubicBezTo>
                <a:cubicBezTo>
                  <a:pt x="1373" y="2301"/>
                  <a:pt x="1372" y="2308"/>
                  <a:pt x="1373" y="2319"/>
                </a:cubicBezTo>
                <a:cubicBezTo>
                  <a:pt x="1373" y="2343"/>
                  <a:pt x="1360" y="2361"/>
                  <a:pt x="1347" y="2375"/>
                </a:cubicBezTo>
                <a:close/>
                <a:moveTo>
                  <a:pt x="1587" y="1975"/>
                </a:moveTo>
                <a:cubicBezTo>
                  <a:pt x="1574" y="2004"/>
                  <a:pt x="1557" y="2030"/>
                  <a:pt x="1531" y="2052"/>
                </a:cubicBezTo>
                <a:cubicBezTo>
                  <a:pt x="1513" y="2067"/>
                  <a:pt x="1499" y="2087"/>
                  <a:pt x="1485" y="2106"/>
                </a:cubicBezTo>
                <a:cubicBezTo>
                  <a:pt x="1475" y="2119"/>
                  <a:pt x="1464" y="2129"/>
                  <a:pt x="1452" y="2138"/>
                </a:cubicBezTo>
                <a:cubicBezTo>
                  <a:pt x="1444" y="2144"/>
                  <a:pt x="1435" y="2141"/>
                  <a:pt x="1434" y="2131"/>
                </a:cubicBezTo>
                <a:cubicBezTo>
                  <a:pt x="1434" y="2116"/>
                  <a:pt x="1427" y="2101"/>
                  <a:pt x="1432" y="2086"/>
                </a:cubicBezTo>
                <a:cubicBezTo>
                  <a:pt x="1433" y="2083"/>
                  <a:pt x="1434" y="2078"/>
                  <a:pt x="1432" y="2075"/>
                </a:cubicBezTo>
                <a:cubicBezTo>
                  <a:pt x="1425" y="2067"/>
                  <a:pt x="1429" y="2060"/>
                  <a:pt x="1434" y="2052"/>
                </a:cubicBezTo>
                <a:cubicBezTo>
                  <a:pt x="1437" y="2047"/>
                  <a:pt x="1439" y="2041"/>
                  <a:pt x="1428" y="2045"/>
                </a:cubicBezTo>
                <a:cubicBezTo>
                  <a:pt x="1424" y="2047"/>
                  <a:pt x="1422" y="2044"/>
                  <a:pt x="1421" y="2039"/>
                </a:cubicBezTo>
                <a:cubicBezTo>
                  <a:pt x="1416" y="2013"/>
                  <a:pt x="1416" y="1986"/>
                  <a:pt x="1416" y="1959"/>
                </a:cubicBezTo>
                <a:cubicBezTo>
                  <a:pt x="1416" y="1955"/>
                  <a:pt x="1418" y="1950"/>
                  <a:pt x="1420" y="1947"/>
                </a:cubicBezTo>
                <a:cubicBezTo>
                  <a:pt x="1429" y="1935"/>
                  <a:pt x="1434" y="1922"/>
                  <a:pt x="1425" y="1905"/>
                </a:cubicBezTo>
                <a:cubicBezTo>
                  <a:pt x="1436" y="1911"/>
                  <a:pt x="1441" y="1915"/>
                  <a:pt x="1448" y="1902"/>
                </a:cubicBezTo>
                <a:cubicBezTo>
                  <a:pt x="1451" y="1896"/>
                  <a:pt x="1466" y="1903"/>
                  <a:pt x="1474" y="1907"/>
                </a:cubicBezTo>
                <a:cubicBezTo>
                  <a:pt x="1477" y="1909"/>
                  <a:pt x="1478" y="1911"/>
                  <a:pt x="1480" y="1913"/>
                </a:cubicBezTo>
                <a:cubicBezTo>
                  <a:pt x="1484" y="1916"/>
                  <a:pt x="1490" y="1919"/>
                  <a:pt x="1494" y="1915"/>
                </a:cubicBezTo>
                <a:cubicBezTo>
                  <a:pt x="1499" y="1909"/>
                  <a:pt x="1494" y="1905"/>
                  <a:pt x="1489" y="1901"/>
                </a:cubicBezTo>
                <a:cubicBezTo>
                  <a:pt x="1495" y="1900"/>
                  <a:pt x="1502" y="1911"/>
                  <a:pt x="1506" y="1899"/>
                </a:cubicBezTo>
                <a:cubicBezTo>
                  <a:pt x="1507" y="1897"/>
                  <a:pt x="1509" y="1899"/>
                  <a:pt x="1509" y="1901"/>
                </a:cubicBezTo>
                <a:cubicBezTo>
                  <a:pt x="1515" y="1922"/>
                  <a:pt x="1528" y="1908"/>
                  <a:pt x="1539" y="1907"/>
                </a:cubicBezTo>
                <a:cubicBezTo>
                  <a:pt x="1535" y="1915"/>
                  <a:pt x="1537" y="1921"/>
                  <a:pt x="1543" y="1927"/>
                </a:cubicBezTo>
                <a:cubicBezTo>
                  <a:pt x="1548" y="1932"/>
                  <a:pt x="1550" y="1935"/>
                  <a:pt x="1540" y="1935"/>
                </a:cubicBezTo>
                <a:cubicBezTo>
                  <a:pt x="1538" y="1935"/>
                  <a:pt x="1534" y="1934"/>
                  <a:pt x="1534" y="1938"/>
                </a:cubicBezTo>
                <a:cubicBezTo>
                  <a:pt x="1534" y="1940"/>
                  <a:pt x="1536" y="1942"/>
                  <a:pt x="1537" y="1944"/>
                </a:cubicBezTo>
                <a:cubicBezTo>
                  <a:pt x="1545" y="1952"/>
                  <a:pt x="1556" y="1953"/>
                  <a:pt x="1564" y="1949"/>
                </a:cubicBezTo>
                <a:cubicBezTo>
                  <a:pt x="1573" y="1944"/>
                  <a:pt x="1570" y="1935"/>
                  <a:pt x="1564" y="1927"/>
                </a:cubicBezTo>
                <a:cubicBezTo>
                  <a:pt x="1561" y="1924"/>
                  <a:pt x="1563" y="1920"/>
                  <a:pt x="1564" y="1917"/>
                </a:cubicBezTo>
                <a:cubicBezTo>
                  <a:pt x="1577" y="1924"/>
                  <a:pt x="1581" y="1939"/>
                  <a:pt x="1591" y="1949"/>
                </a:cubicBezTo>
                <a:cubicBezTo>
                  <a:pt x="1598" y="1955"/>
                  <a:pt x="1590" y="1967"/>
                  <a:pt x="1587" y="1975"/>
                </a:cubicBezTo>
                <a:close/>
                <a:moveTo>
                  <a:pt x="1589" y="142"/>
                </a:moveTo>
                <a:cubicBezTo>
                  <a:pt x="1587" y="138"/>
                  <a:pt x="1591" y="139"/>
                  <a:pt x="1592" y="137"/>
                </a:cubicBezTo>
                <a:cubicBezTo>
                  <a:pt x="1595" y="132"/>
                  <a:pt x="1602" y="125"/>
                  <a:pt x="1598" y="123"/>
                </a:cubicBezTo>
                <a:cubicBezTo>
                  <a:pt x="1591" y="120"/>
                  <a:pt x="1582" y="117"/>
                  <a:pt x="1574" y="121"/>
                </a:cubicBezTo>
                <a:cubicBezTo>
                  <a:pt x="1570" y="123"/>
                  <a:pt x="1575" y="126"/>
                  <a:pt x="1574" y="129"/>
                </a:cubicBezTo>
                <a:cubicBezTo>
                  <a:pt x="1574" y="133"/>
                  <a:pt x="1572" y="136"/>
                  <a:pt x="1568" y="134"/>
                </a:cubicBezTo>
                <a:cubicBezTo>
                  <a:pt x="1566" y="133"/>
                  <a:pt x="1560" y="135"/>
                  <a:pt x="1562" y="129"/>
                </a:cubicBezTo>
                <a:cubicBezTo>
                  <a:pt x="1565" y="121"/>
                  <a:pt x="1562" y="108"/>
                  <a:pt x="1578" y="112"/>
                </a:cubicBezTo>
                <a:cubicBezTo>
                  <a:pt x="1579" y="105"/>
                  <a:pt x="1571" y="106"/>
                  <a:pt x="1569" y="101"/>
                </a:cubicBezTo>
                <a:cubicBezTo>
                  <a:pt x="1588" y="99"/>
                  <a:pt x="1600" y="108"/>
                  <a:pt x="1603" y="124"/>
                </a:cubicBezTo>
                <a:cubicBezTo>
                  <a:pt x="1604" y="128"/>
                  <a:pt x="1607" y="132"/>
                  <a:pt x="1610" y="130"/>
                </a:cubicBezTo>
                <a:cubicBezTo>
                  <a:pt x="1622" y="118"/>
                  <a:pt x="1624" y="129"/>
                  <a:pt x="1628" y="137"/>
                </a:cubicBezTo>
                <a:cubicBezTo>
                  <a:pt x="1630" y="141"/>
                  <a:pt x="1635" y="136"/>
                  <a:pt x="1638" y="144"/>
                </a:cubicBezTo>
                <a:cubicBezTo>
                  <a:pt x="1621" y="137"/>
                  <a:pt x="1605" y="136"/>
                  <a:pt x="1589" y="142"/>
                </a:cubicBezTo>
                <a:close/>
                <a:moveTo>
                  <a:pt x="1813" y="259"/>
                </a:moveTo>
                <a:cubicBezTo>
                  <a:pt x="1810" y="263"/>
                  <a:pt x="1807" y="258"/>
                  <a:pt x="1804" y="257"/>
                </a:cubicBezTo>
                <a:cubicBezTo>
                  <a:pt x="1802" y="257"/>
                  <a:pt x="1801" y="256"/>
                  <a:pt x="1800" y="255"/>
                </a:cubicBezTo>
                <a:cubicBezTo>
                  <a:pt x="1780" y="251"/>
                  <a:pt x="1779" y="243"/>
                  <a:pt x="1793" y="227"/>
                </a:cubicBezTo>
                <a:cubicBezTo>
                  <a:pt x="1794" y="225"/>
                  <a:pt x="1795" y="223"/>
                  <a:pt x="1797" y="220"/>
                </a:cubicBezTo>
                <a:cubicBezTo>
                  <a:pt x="1804" y="229"/>
                  <a:pt x="1803" y="241"/>
                  <a:pt x="1814" y="246"/>
                </a:cubicBezTo>
                <a:cubicBezTo>
                  <a:pt x="1817" y="247"/>
                  <a:pt x="1816" y="256"/>
                  <a:pt x="1813" y="259"/>
                </a:cubicBezTo>
                <a:close/>
                <a:moveTo>
                  <a:pt x="2026" y="1895"/>
                </a:moveTo>
                <a:cubicBezTo>
                  <a:pt x="2025" y="1889"/>
                  <a:pt x="2018" y="1890"/>
                  <a:pt x="2014" y="1887"/>
                </a:cubicBezTo>
                <a:cubicBezTo>
                  <a:pt x="2007" y="1898"/>
                  <a:pt x="2001" y="1890"/>
                  <a:pt x="1995" y="1887"/>
                </a:cubicBezTo>
                <a:cubicBezTo>
                  <a:pt x="1993" y="1886"/>
                  <a:pt x="1990" y="1887"/>
                  <a:pt x="1987" y="1888"/>
                </a:cubicBezTo>
                <a:cubicBezTo>
                  <a:pt x="1995" y="1903"/>
                  <a:pt x="1979" y="1899"/>
                  <a:pt x="1975" y="1902"/>
                </a:cubicBezTo>
                <a:cubicBezTo>
                  <a:pt x="1967" y="1907"/>
                  <a:pt x="1966" y="1917"/>
                  <a:pt x="1959" y="1922"/>
                </a:cubicBezTo>
                <a:cubicBezTo>
                  <a:pt x="1953" y="1926"/>
                  <a:pt x="1950" y="1931"/>
                  <a:pt x="1942" y="1930"/>
                </a:cubicBezTo>
                <a:cubicBezTo>
                  <a:pt x="1934" y="1929"/>
                  <a:pt x="1932" y="1925"/>
                  <a:pt x="1934" y="1919"/>
                </a:cubicBezTo>
                <a:cubicBezTo>
                  <a:pt x="1936" y="1915"/>
                  <a:pt x="1933" y="1905"/>
                  <a:pt x="1945" y="1909"/>
                </a:cubicBezTo>
                <a:cubicBezTo>
                  <a:pt x="1952" y="1912"/>
                  <a:pt x="1962" y="1911"/>
                  <a:pt x="1966" y="1903"/>
                </a:cubicBezTo>
                <a:cubicBezTo>
                  <a:pt x="1969" y="1896"/>
                  <a:pt x="1962" y="1890"/>
                  <a:pt x="1958" y="1884"/>
                </a:cubicBezTo>
                <a:cubicBezTo>
                  <a:pt x="1955" y="1880"/>
                  <a:pt x="1949" y="1880"/>
                  <a:pt x="1948" y="1873"/>
                </a:cubicBezTo>
                <a:cubicBezTo>
                  <a:pt x="1964" y="1875"/>
                  <a:pt x="1973" y="1870"/>
                  <a:pt x="1969" y="1852"/>
                </a:cubicBezTo>
                <a:cubicBezTo>
                  <a:pt x="1969" y="1850"/>
                  <a:pt x="1977" y="1840"/>
                  <a:pt x="1984" y="1836"/>
                </a:cubicBezTo>
                <a:cubicBezTo>
                  <a:pt x="1978" y="1847"/>
                  <a:pt x="1986" y="1861"/>
                  <a:pt x="1977" y="1872"/>
                </a:cubicBezTo>
                <a:cubicBezTo>
                  <a:pt x="1975" y="1875"/>
                  <a:pt x="1975" y="1879"/>
                  <a:pt x="1978" y="1881"/>
                </a:cubicBezTo>
                <a:cubicBezTo>
                  <a:pt x="1981" y="1882"/>
                  <a:pt x="1984" y="1881"/>
                  <a:pt x="1987" y="1878"/>
                </a:cubicBezTo>
                <a:cubicBezTo>
                  <a:pt x="2007" y="1864"/>
                  <a:pt x="2030" y="1870"/>
                  <a:pt x="2038" y="1894"/>
                </a:cubicBezTo>
                <a:cubicBezTo>
                  <a:pt x="2040" y="1902"/>
                  <a:pt x="2045" y="1898"/>
                  <a:pt x="2050" y="1900"/>
                </a:cubicBezTo>
                <a:cubicBezTo>
                  <a:pt x="2032" y="1913"/>
                  <a:pt x="2032" y="1913"/>
                  <a:pt x="2026" y="1895"/>
                </a:cubicBezTo>
                <a:close/>
                <a:moveTo>
                  <a:pt x="2220" y="1863"/>
                </a:moveTo>
                <a:cubicBezTo>
                  <a:pt x="2218" y="1853"/>
                  <a:pt x="2211" y="1855"/>
                  <a:pt x="2206" y="1856"/>
                </a:cubicBezTo>
                <a:cubicBezTo>
                  <a:pt x="2194" y="1858"/>
                  <a:pt x="2187" y="1864"/>
                  <a:pt x="2187" y="1877"/>
                </a:cubicBezTo>
                <a:cubicBezTo>
                  <a:pt x="2162" y="1872"/>
                  <a:pt x="2167" y="1849"/>
                  <a:pt x="2158" y="1833"/>
                </a:cubicBezTo>
                <a:cubicBezTo>
                  <a:pt x="2169" y="1834"/>
                  <a:pt x="2180" y="1832"/>
                  <a:pt x="2188" y="1844"/>
                </a:cubicBezTo>
                <a:cubicBezTo>
                  <a:pt x="2190" y="1847"/>
                  <a:pt x="2206" y="1858"/>
                  <a:pt x="2207" y="1838"/>
                </a:cubicBezTo>
                <a:cubicBezTo>
                  <a:pt x="2207" y="1835"/>
                  <a:pt x="2210" y="1832"/>
                  <a:pt x="2214" y="1833"/>
                </a:cubicBezTo>
                <a:cubicBezTo>
                  <a:pt x="2216" y="1833"/>
                  <a:pt x="2219" y="1836"/>
                  <a:pt x="2218" y="1836"/>
                </a:cubicBezTo>
                <a:cubicBezTo>
                  <a:pt x="2208" y="1846"/>
                  <a:pt x="2224" y="1852"/>
                  <a:pt x="2220" y="1863"/>
                </a:cubicBezTo>
                <a:close/>
                <a:moveTo>
                  <a:pt x="2559" y="934"/>
                </a:moveTo>
                <a:cubicBezTo>
                  <a:pt x="2546" y="934"/>
                  <a:pt x="2534" y="928"/>
                  <a:pt x="2521" y="936"/>
                </a:cubicBezTo>
                <a:cubicBezTo>
                  <a:pt x="2516" y="939"/>
                  <a:pt x="2515" y="934"/>
                  <a:pt x="2514" y="931"/>
                </a:cubicBezTo>
                <a:cubicBezTo>
                  <a:pt x="2509" y="920"/>
                  <a:pt x="2503" y="911"/>
                  <a:pt x="2494" y="902"/>
                </a:cubicBezTo>
                <a:cubicBezTo>
                  <a:pt x="2506" y="902"/>
                  <a:pt x="2518" y="909"/>
                  <a:pt x="2528" y="905"/>
                </a:cubicBezTo>
                <a:cubicBezTo>
                  <a:pt x="2538" y="901"/>
                  <a:pt x="2549" y="907"/>
                  <a:pt x="2559" y="901"/>
                </a:cubicBezTo>
                <a:cubicBezTo>
                  <a:pt x="2566" y="896"/>
                  <a:pt x="2576" y="902"/>
                  <a:pt x="2572" y="909"/>
                </a:cubicBezTo>
                <a:cubicBezTo>
                  <a:pt x="2565" y="926"/>
                  <a:pt x="2573" y="930"/>
                  <a:pt x="2588" y="930"/>
                </a:cubicBezTo>
                <a:cubicBezTo>
                  <a:pt x="2578" y="935"/>
                  <a:pt x="2569" y="933"/>
                  <a:pt x="2559" y="934"/>
                </a:cubicBezTo>
                <a:close/>
                <a:moveTo>
                  <a:pt x="2606" y="1367"/>
                </a:moveTo>
                <a:cubicBezTo>
                  <a:pt x="2601" y="1367"/>
                  <a:pt x="2597" y="1368"/>
                  <a:pt x="2598" y="1375"/>
                </a:cubicBezTo>
                <a:cubicBezTo>
                  <a:pt x="2599" y="1378"/>
                  <a:pt x="2599" y="1382"/>
                  <a:pt x="2594" y="1381"/>
                </a:cubicBezTo>
                <a:cubicBezTo>
                  <a:pt x="2590" y="1380"/>
                  <a:pt x="2588" y="1377"/>
                  <a:pt x="2589" y="1373"/>
                </a:cubicBezTo>
                <a:cubicBezTo>
                  <a:pt x="2592" y="1363"/>
                  <a:pt x="2588" y="1355"/>
                  <a:pt x="2580" y="1347"/>
                </a:cubicBezTo>
                <a:cubicBezTo>
                  <a:pt x="2578" y="1345"/>
                  <a:pt x="2570" y="1337"/>
                  <a:pt x="2576" y="1334"/>
                </a:cubicBezTo>
                <a:cubicBezTo>
                  <a:pt x="2583" y="1330"/>
                  <a:pt x="2584" y="1310"/>
                  <a:pt x="2598" y="1323"/>
                </a:cubicBezTo>
                <a:cubicBezTo>
                  <a:pt x="2600" y="1325"/>
                  <a:pt x="2604" y="1325"/>
                  <a:pt x="2606" y="1323"/>
                </a:cubicBezTo>
                <a:cubicBezTo>
                  <a:pt x="2609" y="1320"/>
                  <a:pt x="2605" y="1319"/>
                  <a:pt x="2603" y="1318"/>
                </a:cubicBezTo>
                <a:cubicBezTo>
                  <a:pt x="2600" y="1315"/>
                  <a:pt x="2603" y="1313"/>
                  <a:pt x="2605" y="1313"/>
                </a:cubicBezTo>
                <a:cubicBezTo>
                  <a:pt x="2618" y="1310"/>
                  <a:pt x="2626" y="1320"/>
                  <a:pt x="2636" y="1323"/>
                </a:cubicBezTo>
                <a:cubicBezTo>
                  <a:pt x="2633" y="1331"/>
                  <a:pt x="2635" y="1339"/>
                  <a:pt x="2637" y="1348"/>
                </a:cubicBezTo>
                <a:cubicBezTo>
                  <a:pt x="2622" y="1348"/>
                  <a:pt x="2617" y="1332"/>
                  <a:pt x="2604" y="1332"/>
                </a:cubicBezTo>
                <a:cubicBezTo>
                  <a:pt x="2600" y="1332"/>
                  <a:pt x="2594" y="1327"/>
                  <a:pt x="2592" y="1335"/>
                </a:cubicBezTo>
                <a:cubicBezTo>
                  <a:pt x="2591" y="1340"/>
                  <a:pt x="2592" y="1346"/>
                  <a:pt x="2598" y="1348"/>
                </a:cubicBezTo>
                <a:cubicBezTo>
                  <a:pt x="2607" y="1351"/>
                  <a:pt x="2611" y="1361"/>
                  <a:pt x="2620" y="1363"/>
                </a:cubicBezTo>
                <a:cubicBezTo>
                  <a:pt x="2615" y="1368"/>
                  <a:pt x="2610" y="1366"/>
                  <a:pt x="2606" y="1367"/>
                </a:cubicBezTo>
                <a:close/>
                <a:moveTo>
                  <a:pt x="838" y="1947"/>
                </a:moveTo>
                <a:cubicBezTo>
                  <a:pt x="833" y="1942"/>
                  <a:pt x="824" y="1943"/>
                  <a:pt x="822" y="1947"/>
                </a:cubicBezTo>
                <a:cubicBezTo>
                  <a:pt x="817" y="1959"/>
                  <a:pt x="810" y="1951"/>
                  <a:pt x="804" y="1949"/>
                </a:cubicBezTo>
                <a:cubicBezTo>
                  <a:pt x="795" y="1946"/>
                  <a:pt x="791" y="1949"/>
                  <a:pt x="790" y="1958"/>
                </a:cubicBezTo>
                <a:cubicBezTo>
                  <a:pt x="792" y="1964"/>
                  <a:pt x="791" y="1972"/>
                  <a:pt x="797" y="1976"/>
                </a:cubicBezTo>
                <a:cubicBezTo>
                  <a:pt x="802" y="1980"/>
                  <a:pt x="808" y="1982"/>
                  <a:pt x="809" y="1972"/>
                </a:cubicBezTo>
                <a:cubicBezTo>
                  <a:pt x="810" y="1969"/>
                  <a:pt x="807" y="1965"/>
                  <a:pt x="813" y="1964"/>
                </a:cubicBezTo>
                <a:cubicBezTo>
                  <a:pt x="818" y="1963"/>
                  <a:pt x="821" y="1964"/>
                  <a:pt x="823" y="1969"/>
                </a:cubicBezTo>
                <a:cubicBezTo>
                  <a:pt x="824" y="1972"/>
                  <a:pt x="827" y="1976"/>
                  <a:pt x="829" y="1975"/>
                </a:cubicBezTo>
                <a:cubicBezTo>
                  <a:pt x="835" y="1971"/>
                  <a:pt x="840" y="1966"/>
                  <a:pt x="843" y="1960"/>
                </a:cubicBezTo>
                <a:cubicBezTo>
                  <a:pt x="846" y="1955"/>
                  <a:pt x="842" y="1950"/>
                  <a:pt x="838" y="1947"/>
                </a:cubicBezTo>
                <a:close/>
              </a:path>
            </a:pathLst>
          </a:cu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57432DB-6753-4BB8-BBA7-6AD42A868F70}"/>
              </a:ext>
            </a:extLst>
          </p:cNvPr>
          <p:cNvSpPr txBox="1"/>
          <p:nvPr/>
        </p:nvSpPr>
        <p:spPr>
          <a:xfrm>
            <a:off x="7406802" y="1885204"/>
            <a:ext cx="3901366" cy="135665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-15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 bold"/>
                <a:ea typeface="+mn-ea"/>
                <a:cs typeface="+mn-cs"/>
              </a:rPr>
              <a:t>100%</a:t>
            </a:r>
            <a:r>
              <a:rPr kumimoji="0" lang="en-US" sz="3000" b="0" i="0" u="none" strike="noStrike" kern="1200" cap="none" spc="-15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 bold"/>
                <a:ea typeface="+mn-ea"/>
                <a:cs typeface="+mn-cs"/>
              </a:rPr>
              <a:t> </a:t>
            </a:r>
          </a:p>
          <a:p>
            <a:pPr marL="0" marR="0" lvl="0" indent="0" algn="ctr" defTabSz="914378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Header 4</a:t>
            </a:r>
          </a:p>
          <a:p>
            <a:pPr marL="0" marR="0" lvl="0" indent="0" algn="ctr" defTabSz="914378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dolor sit amet, semper assueverit ei nam, viderer civibus ei pro.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7BC1383-4566-45A9-B4AB-34F2252D3F44}"/>
              </a:ext>
            </a:extLst>
          </p:cNvPr>
          <p:cNvSpPr txBox="1"/>
          <p:nvPr/>
        </p:nvSpPr>
        <p:spPr>
          <a:xfrm>
            <a:off x="3949955" y="3769273"/>
            <a:ext cx="1875378" cy="1315935"/>
          </a:xfrm>
          <a:prstGeom prst="rect">
            <a:avLst/>
          </a:prstGeom>
          <a:noFill/>
        </p:spPr>
        <p:txBody>
          <a:bodyPr wrap="square" lIns="68580" tIns="34290" rIns="68580" bIns="34290" rtlCol="0">
            <a:norm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4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 bold"/>
                <a:ea typeface="+mn-ea"/>
                <a:cs typeface="+mn-cs"/>
              </a:rPr>
              <a:t>60% </a:t>
            </a:r>
            <a:br>
              <a:rPr kumimoji="0" lang="en-US" sz="1600" b="0" i="0" u="none" strike="noStrike" kern="1200" cap="none" spc="-4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</a:br>
            <a:r>
              <a:rPr kumimoji="0" lang="en-US" sz="1200" b="0" i="0" u="none" strike="noStrike" kern="1200" cap="none" spc="-4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Header 3</a:t>
            </a:r>
            <a:br>
              <a:rPr kumimoji="0" lang="en-US" sz="1200" b="0" i="0" u="none" strike="noStrike" kern="1200" cap="none" spc="-4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dolor sit amet, semper assueverit ei nam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FCADA13-95D7-4AC3-BAB8-C80DDD6D5CE9}"/>
              </a:ext>
            </a:extLst>
          </p:cNvPr>
          <p:cNvSpPr txBox="1"/>
          <p:nvPr/>
        </p:nvSpPr>
        <p:spPr>
          <a:xfrm>
            <a:off x="157000" y="4499918"/>
            <a:ext cx="1733199" cy="664477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4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 bold"/>
                <a:ea typeface="+mn-ea"/>
                <a:cs typeface="+mn-cs"/>
              </a:rPr>
              <a:t>20% </a:t>
            </a:r>
          </a:p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4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Header 1 </a:t>
            </a:r>
          </a:p>
          <a:p>
            <a:pPr marL="0" marR="0" lvl="0" indent="0" algn="ctr" defTabSz="914378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dolor</a:t>
            </a:r>
          </a:p>
        </p:txBody>
      </p:sp>
      <p:sp>
        <p:nvSpPr>
          <p:cNvPr id="34" name="Freeform 7">
            <a:extLst>
              <a:ext uri="{FF2B5EF4-FFF2-40B4-BE49-F238E27FC236}">
                <a16:creationId xmlns:a16="http://schemas.microsoft.com/office/drawing/2014/main" id="{7F85BBB3-0C91-4111-B22C-152F3E2FA0E7}"/>
              </a:ext>
            </a:extLst>
          </p:cNvPr>
          <p:cNvSpPr>
            <a:spLocks noEditPoints="1"/>
          </p:cNvSpPr>
          <p:nvPr/>
        </p:nvSpPr>
        <p:spPr bwMode="auto">
          <a:xfrm>
            <a:off x="2210737" y="4822717"/>
            <a:ext cx="1216206" cy="1410132"/>
          </a:xfrm>
          <a:custGeom>
            <a:avLst/>
            <a:gdLst>
              <a:gd name="T0" fmla="*/ 1376 w 2745"/>
              <a:gd name="T1" fmla="*/ 85 h 3182"/>
              <a:gd name="T2" fmla="*/ 694 w 2745"/>
              <a:gd name="T3" fmla="*/ 2036 h 3182"/>
              <a:gd name="T4" fmla="*/ 2696 w 2745"/>
              <a:gd name="T5" fmla="*/ 1450 h 3182"/>
              <a:gd name="T6" fmla="*/ 2669 w 2745"/>
              <a:gd name="T7" fmla="*/ 1242 h 3182"/>
              <a:gd name="T8" fmla="*/ 2663 w 2745"/>
              <a:gd name="T9" fmla="*/ 1110 h 3182"/>
              <a:gd name="T10" fmla="*/ 2661 w 2745"/>
              <a:gd name="T11" fmla="*/ 923 h 3182"/>
              <a:gd name="T12" fmla="*/ 2481 w 2745"/>
              <a:gd name="T13" fmla="*/ 863 h 3182"/>
              <a:gd name="T14" fmla="*/ 2457 w 2745"/>
              <a:gd name="T15" fmla="*/ 644 h 3182"/>
              <a:gd name="T16" fmla="*/ 2374 w 2745"/>
              <a:gd name="T17" fmla="*/ 507 h 3182"/>
              <a:gd name="T18" fmla="*/ 2263 w 2745"/>
              <a:gd name="T19" fmla="*/ 368 h 3182"/>
              <a:gd name="T20" fmla="*/ 2162 w 2745"/>
              <a:gd name="T21" fmla="*/ 459 h 3182"/>
              <a:gd name="T22" fmla="*/ 2064 w 2745"/>
              <a:gd name="T23" fmla="*/ 421 h 3182"/>
              <a:gd name="T24" fmla="*/ 1932 w 2745"/>
              <a:gd name="T25" fmla="*/ 290 h 3182"/>
              <a:gd name="T26" fmla="*/ 1801 w 2745"/>
              <a:gd name="T27" fmla="*/ 122 h 3182"/>
              <a:gd name="T28" fmla="*/ 1579 w 2745"/>
              <a:gd name="T29" fmla="*/ 62 h 3182"/>
              <a:gd name="T30" fmla="*/ 1437 w 2745"/>
              <a:gd name="T31" fmla="*/ 181 h 3182"/>
              <a:gd name="T32" fmla="*/ 1315 w 2745"/>
              <a:gd name="T33" fmla="*/ 231 h 3182"/>
              <a:gd name="T34" fmla="*/ 1172 w 2745"/>
              <a:gd name="T35" fmla="*/ 113 h 3182"/>
              <a:gd name="T36" fmla="*/ 1002 w 2745"/>
              <a:gd name="T37" fmla="*/ 57 h 3182"/>
              <a:gd name="T38" fmla="*/ 823 w 2745"/>
              <a:gd name="T39" fmla="*/ 180 h 3182"/>
              <a:gd name="T40" fmla="*/ 723 w 2745"/>
              <a:gd name="T41" fmla="*/ 157 h 3182"/>
              <a:gd name="T42" fmla="*/ 578 w 2745"/>
              <a:gd name="T43" fmla="*/ 384 h 3182"/>
              <a:gd name="T44" fmla="*/ 679 w 2745"/>
              <a:gd name="T45" fmla="*/ 613 h 3182"/>
              <a:gd name="T46" fmla="*/ 514 w 2745"/>
              <a:gd name="T47" fmla="*/ 538 h 3182"/>
              <a:gd name="T48" fmla="*/ 402 w 2745"/>
              <a:gd name="T49" fmla="*/ 546 h 3182"/>
              <a:gd name="T50" fmla="*/ 377 w 2745"/>
              <a:gd name="T51" fmla="*/ 667 h 3182"/>
              <a:gd name="T52" fmla="*/ 354 w 2745"/>
              <a:gd name="T53" fmla="*/ 792 h 3182"/>
              <a:gd name="T54" fmla="*/ 293 w 2745"/>
              <a:gd name="T55" fmla="*/ 796 h 3182"/>
              <a:gd name="T56" fmla="*/ 177 w 2745"/>
              <a:gd name="T57" fmla="*/ 734 h 3182"/>
              <a:gd name="T58" fmla="*/ 104 w 2745"/>
              <a:gd name="T59" fmla="*/ 770 h 3182"/>
              <a:gd name="T60" fmla="*/ 164 w 2745"/>
              <a:gd name="T61" fmla="*/ 968 h 3182"/>
              <a:gd name="T62" fmla="*/ 197 w 2745"/>
              <a:gd name="T63" fmla="*/ 1199 h 3182"/>
              <a:gd name="T64" fmla="*/ 273 w 2745"/>
              <a:gd name="T65" fmla="*/ 1288 h 3182"/>
              <a:gd name="T66" fmla="*/ 154 w 2745"/>
              <a:gd name="T67" fmla="*/ 1443 h 3182"/>
              <a:gd name="T68" fmla="*/ 47 w 2745"/>
              <a:gd name="T69" fmla="*/ 1639 h 3182"/>
              <a:gd name="T70" fmla="*/ 252 w 2745"/>
              <a:gd name="T71" fmla="*/ 1656 h 3182"/>
              <a:gd name="T72" fmla="*/ 543 w 2745"/>
              <a:gd name="T73" fmla="*/ 1633 h 3182"/>
              <a:gd name="T74" fmla="*/ 552 w 2745"/>
              <a:gd name="T75" fmla="*/ 1803 h 3182"/>
              <a:gd name="T76" fmla="*/ 775 w 2745"/>
              <a:gd name="T77" fmla="*/ 1849 h 3182"/>
              <a:gd name="T78" fmla="*/ 884 w 2745"/>
              <a:gd name="T79" fmla="*/ 1933 h 3182"/>
              <a:gd name="T80" fmla="*/ 1104 w 2745"/>
              <a:gd name="T81" fmla="*/ 2165 h 3182"/>
              <a:gd name="T82" fmla="*/ 1447 w 2745"/>
              <a:gd name="T83" fmla="*/ 2573 h 3182"/>
              <a:gd name="T84" fmla="*/ 1633 w 2745"/>
              <a:gd name="T85" fmla="*/ 2027 h 3182"/>
              <a:gd name="T86" fmla="*/ 1842 w 2745"/>
              <a:gd name="T87" fmla="*/ 2029 h 3182"/>
              <a:gd name="T88" fmla="*/ 2003 w 2745"/>
              <a:gd name="T89" fmla="*/ 1981 h 3182"/>
              <a:gd name="T90" fmla="*/ 2217 w 2745"/>
              <a:gd name="T91" fmla="*/ 1945 h 3182"/>
              <a:gd name="T92" fmla="*/ 2312 w 2745"/>
              <a:gd name="T93" fmla="*/ 1893 h 3182"/>
              <a:gd name="T94" fmla="*/ 2441 w 2745"/>
              <a:gd name="T95" fmla="*/ 1758 h 3182"/>
              <a:gd name="T96" fmla="*/ 2670 w 2745"/>
              <a:gd name="T97" fmla="*/ 1653 h 3182"/>
              <a:gd name="T98" fmla="*/ 672 w 2745"/>
              <a:gd name="T99" fmla="*/ 474 h 3182"/>
              <a:gd name="T100" fmla="*/ 673 w 2745"/>
              <a:gd name="T101" fmla="*/ 285 h 3182"/>
              <a:gd name="T102" fmla="*/ 934 w 2745"/>
              <a:gd name="T103" fmla="*/ 146 h 3182"/>
              <a:gd name="T104" fmla="*/ 938 w 2745"/>
              <a:gd name="T105" fmla="*/ 1757 h 3182"/>
              <a:gd name="T106" fmla="*/ 1031 w 2745"/>
              <a:gd name="T107" fmla="*/ 1972 h 3182"/>
              <a:gd name="T108" fmla="*/ 1091 w 2745"/>
              <a:gd name="T109" fmla="*/ 1937 h 3182"/>
              <a:gd name="T110" fmla="*/ 1303 w 2745"/>
              <a:gd name="T111" fmla="*/ 2431 h 3182"/>
              <a:gd name="T112" fmla="*/ 1290 w 2745"/>
              <a:gd name="T113" fmla="*/ 1949 h 3182"/>
              <a:gd name="T114" fmla="*/ 1452 w 2745"/>
              <a:gd name="T115" fmla="*/ 2138 h 3182"/>
              <a:gd name="T116" fmla="*/ 1564 w 2745"/>
              <a:gd name="T117" fmla="*/ 1949 h 3182"/>
              <a:gd name="T118" fmla="*/ 1793 w 2745"/>
              <a:gd name="T119" fmla="*/ 227 h 3182"/>
              <a:gd name="T120" fmla="*/ 2050 w 2745"/>
              <a:gd name="T121" fmla="*/ 1900 h 3182"/>
              <a:gd name="T122" fmla="*/ 2594 w 2745"/>
              <a:gd name="T123" fmla="*/ 1381 h 3182"/>
              <a:gd name="T124" fmla="*/ 823 w 2745"/>
              <a:gd name="T125" fmla="*/ 1969 h 3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745" h="3182">
                <a:moveTo>
                  <a:pt x="789" y="1987"/>
                </a:moveTo>
                <a:cubicBezTo>
                  <a:pt x="772" y="1982"/>
                  <a:pt x="770" y="1974"/>
                  <a:pt x="784" y="1964"/>
                </a:cubicBezTo>
                <a:cubicBezTo>
                  <a:pt x="785" y="1963"/>
                  <a:pt x="785" y="1962"/>
                  <a:pt x="786" y="1960"/>
                </a:cubicBezTo>
                <a:cubicBezTo>
                  <a:pt x="780" y="1957"/>
                  <a:pt x="784" y="1945"/>
                  <a:pt x="773" y="1946"/>
                </a:cubicBezTo>
                <a:cubicBezTo>
                  <a:pt x="764" y="1947"/>
                  <a:pt x="754" y="1947"/>
                  <a:pt x="745" y="1946"/>
                </a:cubicBezTo>
                <a:cubicBezTo>
                  <a:pt x="739" y="1946"/>
                  <a:pt x="734" y="1950"/>
                  <a:pt x="733" y="1955"/>
                </a:cubicBezTo>
                <a:cubicBezTo>
                  <a:pt x="732" y="1961"/>
                  <a:pt x="733" y="1964"/>
                  <a:pt x="725" y="1960"/>
                </a:cubicBezTo>
                <a:cubicBezTo>
                  <a:pt x="717" y="1957"/>
                  <a:pt x="708" y="1961"/>
                  <a:pt x="702" y="1967"/>
                </a:cubicBezTo>
                <a:cubicBezTo>
                  <a:pt x="697" y="1974"/>
                  <a:pt x="704" y="1980"/>
                  <a:pt x="707" y="1985"/>
                </a:cubicBezTo>
                <a:cubicBezTo>
                  <a:pt x="711" y="1992"/>
                  <a:pt x="715" y="1997"/>
                  <a:pt x="723" y="1989"/>
                </a:cubicBezTo>
                <a:cubicBezTo>
                  <a:pt x="725" y="1987"/>
                  <a:pt x="731" y="1987"/>
                  <a:pt x="734" y="1985"/>
                </a:cubicBezTo>
                <a:cubicBezTo>
                  <a:pt x="738" y="1983"/>
                  <a:pt x="741" y="1982"/>
                  <a:pt x="743" y="1987"/>
                </a:cubicBezTo>
                <a:cubicBezTo>
                  <a:pt x="745" y="1991"/>
                  <a:pt x="744" y="1995"/>
                  <a:pt x="739" y="1996"/>
                </a:cubicBezTo>
                <a:cubicBezTo>
                  <a:pt x="735" y="1997"/>
                  <a:pt x="730" y="1996"/>
                  <a:pt x="730" y="2003"/>
                </a:cubicBezTo>
                <a:cubicBezTo>
                  <a:pt x="731" y="2010"/>
                  <a:pt x="735" y="2014"/>
                  <a:pt x="741" y="2016"/>
                </a:cubicBezTo>
                <a:cubicBezTo>
                  <a:pt x="753" y="2018"/>
                  <a:pt x="765" y="2030"/>
                  <a:pt x="778" y="2023"/>
                </a:cubicBezTo>
                <a:cubicBezTo>
                  <a:pt x="788" y="2018"/>
                  <a:pt x="783" y="2000"/>
                  <a:pt x="792" y="1991"/>
                </a:cubicBezTo>
                <a:cubicBezTo>
                  <a:pt x="792" y="1991"/>
                  <a:pt x="790" y="1987"/>
                  <a:pt x="789" y="1987"/>
                </a:cubicBezTo>
                <a:close/>
                <a:moveTo>
                  <a:pt x="1331" y="115"/>
                </a:moveTo>
                <a:cubicBezTo>
                  <a:pt x="1334" y="112"/>
                  <a:pt x="1336" y="106"/>
                  <a:pt x="1340" y="107"/>
                </a:cubicBezTo>
                <a:cubicBezTo>
                  <a:pt x="1358" y="113"/>
                  <a:pt x="1364" y="100"/>
                  <a:pt x="1372" y="89"/>
                </a:cubicBezTo>
                <a:cubicBezTo>
                  <a:pt x="1373" y="87"/>
                  <a:pt x="1373" y="85"/>
                  <a:pt x="1376" y="85"/>
                </a:cubicBezTo>
                <a:cubicBezTo>
                  <a:pt x="1391" y="82"/>
                  <a:pt x="1386" y="74"/>
                  <a:pt x="1382" y="65"/>
                </a:cubicBezTo>
                <a:cubicBezTo>
                  <a:pt x="1377" y="55"/>
                  <a:pt x="1368" y="47"/>
                  <a:pt x="1367" y="36"/>
                </a:cubicBezTo>
                <a:cubicBezTo>
                  <a:pt x="1365" y="15"/>
                  <a:pt x="1353" y="8"/>
                  <a:pt x="1332" y="15"/>
                </a:cubicBezTo>
                <a:cubicBezTo>
                  <a:pt x="1333" y="20"/>
                  <a:pt x="1337" y="22"/>
                  <a:pt x="1342" y="24"/>
                </a:cubicBezTo>
                <a:cubicBezTo>
                  <a:pt x="1347" y="26"/>
                  <a:pt x="1354" y="28"/>
                  <a:pt x="1352" y="34"/>
                </a:cubicBezTo>
                <a:cubicBezTo>
                  <a:pt x="1351" y="40"/>
                  <a:pt x="1344" y="36"/>
                  <a:pt x="1340" y="35"/>
                </a:cubicBezTo>
                <a:cubicBezTo>
                  <a:pt x="1334" y="34"/>
                  <a:pt x="1329" y="35"/>
                  <a:pt x="1326" y="40"/>
                </a:cubicBezTo>
                <a:cubicBezTo>
                  <a:pt x="1322" y="45"/>
                  <a:pt x="1325" y="49"/>
                  <a:pt x="1329" y="52"/>
                </a:cubicBezTo>
                <a:cubicBezTo>
                  <a:pt x="1336" y="58"/>
                  <a:pt x="1322" y="66"/>
                  <a:pt x="1331" y="72"/>
                </a:cubicBezTo>
                <a:cubicBezTo>
                  <a:pt x="1338" y="76"/>
                  <a:pt x="1346" y="67"/>
                  <a:pt x="1351" y="75"/>
                </a:cubicBezTo>
                <a:cubicBezTo>
                  <a:pt x="1351" y="75"/>
                  <a:pt x="1352" y="75"/>
                  <a:pt x="1352" y="76"/>
                </a:cubicBezTo>
                <a:cubicBezTo>
                  <a:pt x="1364" y="81"/>
                  <a:pt x="1355" y="89"/>
                  <a:pt x="1354" y="94"/>
                </a:cubicBezTo>
                <a:cubicBezTo>
                  <a:pt x="1351" y="101"/>
                  <a:pt x="1348" y="96"/>
                  <a:pt x="1343" y="92"/>
                </a:cubicBezTo>
                <a:cubicBezTo>
                  <a:pt x="1332" y="81"/>
                  <a:pt x="1331" y="99"/>
                  <a:pt x="1323" y="102"/>
                </a:cubicBezTo>
                <a:cubicBezTo>
                  <a:pt x="1319" y="103"/>
                  <a:pt x="1313" y="108"/>
                  <a:pt x="1318" y="114"/>
                </a:cubicBezTo>
                <a:cubicBezTo>
                  <a:pt x="1322" y="118"/>
                  <a:pt x="1327" y="121"/>
                  <a:pt x="1331" y="115"/>
                </a:cubicBezTo>
                <a:close/>
                <a:moveTo>
                  <a:pt x="719" y="2016"/>
                </a:moveTo>
                <a:cubicBezTo>
                  <a:pt x="713" y="2014"/>
                  <a:pt x="715" y="2009"/>
                  <a:pt x="712" y="2006"/>
                </a:cubicBezTo>
                <a:cubicBezTo>
                  <a:pt x="707" y="2000"/>
                  <a:pt x="701" y="1996"/>
                  <a:pt x="692" y="1999"/>
                </a:cubicBezTo>
                <a:cubicBezTo>
                  <a:pt x="686" y="2001"/>
                  <a:pt x="680" y="2004"/>
                  <a:pt x="680" y="2010"/>
                </a:cubicBezTo>
                <a:cubicBezTo>
                  <a:pt x="681" y="2019"/>
                  <a:pt x="683" y="2028"/>
                  <a:pt x="688" y="2036"/>
                </a:cubicBezTo>
                <a:cubicBezTo>
                  <a:pt x="688" y="2037"/>
                  <a:pt x="692" y="2037"/>
                  <a:pt x="694" y="2036"/>
                </a:cubicBezTo>
                <a:cubicBezTo>
                  <a:pt x="702" y="2031"/>
                  <a:pt x="707" y="2032"/>
                  <a:pt x="713" y="2040"/>
                </a:cubicBezTo>
                <a:cubicBezTo>
                  <a:pt x="716" y="2044"/>
                  <a:pt x="720" y="2048"/>
                  <a:pt x="726" y="2047"/>
                </a:cubicBezTo>
                <a:cubicBezTo>
                  <a:pt x="728" y="2041"/>
                  <a:pt x="722" y="2037"/>
                  <a:pt x="725" y="2032"/>
                </a:cubicBezTo>
                <a:cubicBezTo>
                  <a:pt x="733" y="2021"/>
                  <a:pt x="733" y="2020"/>
                  <a:pt x="719" y="2016"/>
                </a:cubicBezTo>
                <a:close/>
                <a:moveTo>
                  <a:pt x="2727" y="1574"/>
                </a:moveTo>
                <a:cubicBezTo>
                  <a:pt x="2717" y="1568"/>
                  <a:pt x="2712" y="1562"/>
                  <a:pt x="2721" y="1551"/>
                </a:cubicBezTo>
                <a:cubicBezTo>
                  <a:pt x="2725" y="1546"/>
                  <a:pt x="2728" y="1538"/>
                  <a:pt x="2722" y="1532"/>
                </a:cubicBezTo>
                <a:cubicBezTo>
                  <a:pt x="2719" y="1528"/>
                  <a:pt x="2709" y="1530"/>
                  <a:pt x="2712" y="1523"/>
                </a:cubicBezTo>
                <a:cubicBezTo>
                  <a:pt x="2716" y="1513"/>
                  <a:pt x="2719" y="1528"/>
                  <a:pt x="2724" y="1525"/>
                </a:cubicBezTo>
                <a:cubicBezTo>
                  <a:pt x="2728" y="1522"/>
                  <a:pt x="2732" y="1526"/>
                  <a:pt x="2736" y="1526"/>
                </a:cubicBezTo>
                <a:cubicBezTo>
                  <a:pt x="2739" y="1527"/>
                  <a:pt x="2742" y="1526"/>
                  <a:pt x="2742" y="1523"/>
                </a:cubicBezTo>
                <a:cubicBezTo>
                  <a:pt x="2742" y="1516"/>
                  <a:pt x="2736" y="1513"/>
                  <a:pt x="2732" y="1509"/>
                </a:cubicBezTo>
                <a:cubicBezTo>
                  <a:pt x="2729" y="1506"/>
                  <a:pt x="2726" y="1503"/>
                  <a:pt x="2721" y="1506"/>
                </a:cubicBezTo>
                <a:cubicBezTo>
                  <a:pt x="2718" y="1509"/>
                  <a:pt x="2714" y="1514"/>
                  <a:pt x="2709" y="1509"/>
                </a:cubicBezTo>
                <a:cubicBezTo>
                  <a:pt x="2708" y="1508"/>
                  <a:pt x="2708" y="1506"/>
                  <a:pt x="2708" y="1505"/>
                </a:cubicBezTo>
                <a:cubicBezTo>
                  <a:pt x="2711" y="1501"/>
                  <a:pt x="2716" y="1502"/>
                  <a:pt x="2720" y="1501"/>
                </a:cubicBezTo>
                <a:cubicBezTo>
                  <a:pt x="2722" y="1500"/>
                  <a:pt x="2724" y="1500"/>
                  <a:pt x="2726" y="1500"/>
                </a:cubicBezTo>
                <a:cubicBezTo>
                  <a:pt x="2731" y="1501"/>
                  <a:pt x="2736" y="1503"/>
                  <a:pt x="2736" y="1495"/>
                </a:cubicBezTo>
                <a:cubicBezTo>
                  <a:pt x="2736" y="1488"/>
                  <a:pt x="2731" y="1487"/>
                  <a:pt x="2725" y="1488"/>
                </a:cubicBezTo>
                <a:cubicBezTo>
                  <a:pt x="2709" y="1491"/>
                  <a:pt x="2698" y="1481"/>
                  <a:pt x="2686" y="1475"/>
                </a:cubicBezTo>
                <a:cubicBezTo>
                  <a:pt x="2682" y="1473"/>
                  <a:pt x="2672" y="1465"/>
                  <a:pt x="2685" y="1458"/>
                </a:cubicBezTo>
                <a:cubicBezTo>
                  <a:pt x="2688" y="1456"/>
                  <a:pt x="2692" y="1453"/>
                  <a:pt x="2696" y="1450"/>
                </a:cubicBezTo>
                <a:cubicBezTo>
                  <a:pt x="2699" y="1448"/>
                  <a:pt x="2707" y="1449"/>
                  <a:pt x="2704" y="1442"/>
                </a:cubicBezTo>
                <a:cubicBezTo>
                  <a:pt x="2701" y="1434"/>
                  <a:pt x="2692" y="1432"/>
                  <a:pt x="2686" y="1430"/>
                </a:cubicBezTo>
                <a:cubicBezTo>
                  <a:pt x="2678" y="1428"/>
                  <a:pt x="2686" y="1438"/>
                  <a:pt x="2681" y="1440"/>
                </a:cubicBezTo>
                <a:cubicBezTo>
                  <a:pt x="2669" y="1433"/>
                  <a:pt x="2658" y="1432"/>
                  <a:pt x="2650" y="1443"/>
                </a:cubicBezTo>
                <a:cubicBezTo>
                  <a:pt x="2644" y="1452"/>
                  <a:pt x="2638" y="1449"/>
                  <a:pt x="2631" y="1447"/>
                </a:cubicBezTo>
                <a:cubicBezTo>
                  <a:pt x="2629" y="1446"/>
                  <a:pt x="2624" y="1446"/>
                  <a:pt x="2627" y="1442"/>
                </a:cubicBezTo>
                <a:cubicBezTo>
                  <a:pt x="2629" y="1440"/>
                  <a:pt x="2628" y="1435"/>
                  <a:pt x="2633" y="1435"/>
                </a:cubicBezTo>
                <a:cubicBezTo>
                  <a:pt x="2643" y="1435"/>
                  <a:pt x="2643" y="1435"/>
                  <a:pt x="2639" y="1427"/>
                </a:cubicBezTo>
                <a:cubicBezTo>
                  <a:pt x="2638" y="1424"/>
                  <a:pt x="2634" y="1421"/>
                  <a:pt x="2638" y="1416"/>
                </a:cubicBezTo>
                <a:cubicBezTo>
                  <a:pt x="2647" y="1424"/>
                  <a:pt x="2652" y="1440"/>
                  <a:pt x="2668" y="1430"/>
                </a:cubicBezTo>
                <a:cubicBezTo>
                  <a:pt x="2666" y="1425"/>
                  <a:pt x="2666" y="1424"/>
                  <a:pt x="2671" y="1421"/>
                </a:cubicBezTo>
                <a:cubicBezTo>
                  <a:pt x="2674" y="1419"/>
                  <a:pt x="2673" y="1417"/>
                  <a:pt x="2672" y="1415"/>
                </a:cubicBezTo>
                <a:cubicBezTo>
                  <a:pt x="2666" y="1406"/>
                  <a:pt x="2661" y="1398"/>
                  <a:pt x="2648" y="1403"/>
                </a:cubicBezTo>
                <a:cubicBezTo>
                  <a:pt x="2636" y="1406"/>
                  <a:pt x="2635" y="1396"/>
                  <a:pt x="2633" y="1388"/>
                </a:cubicBezTo>
                <a:cubicBezTo>
                  <a:pt x="2632" y="1382"/>
                  <a:pt x="2624" y="1372"/>
                  <a:pt x="2636" y="1370"/>
                </a:cubicBezTo>
                <a:cubicBezTo>
                  <a:pt x="2653" y="1366"/>
                  <a:pt x="2657" y="1356"/>
                  <a:pt x="2655" y="1342"/>
                </a:cubicBezTo>
                <a:cubicBezTo>
                  <a:pt x="2666" y="1346"/>
                  <a:pt x="2675" y="1355"/>
                  <a:pt x="2687" y="1347"/>
                </a:cubicBezTo>
                <a:cubicBezTo>
                  <a:pt x="2696" y="1341"/>
                  <a:pt x="2684" y="1333"/>
                  <a:pt x="2688" y="1329"/>
                </a:cubicBezTo>
                <a:cubicBezTo>
                  <a:pt x="2698" y="1319"/>
                  <a:pt x="2693" y="1306"/>
                  <a:pt x="2695" y="1295"/>
                </a:cubicBezTo>
                <a:cubicBezTo>
                  <a:pt x="2697" y="1284"/>
                  <a:pt x="2694" y="1279"/>
                  <a:pt x="2683" y="1282"/>
                </a:cubicBezTo>
                <a:cubicBezTo>
                  <a:pt x="2688" y="1275"/>
                  <a:pt x="2693" y="1271"/>
                  <a:pt x="2701" y="1273"/>
                </a:cubicBezTo>
                <a:cubicBezTo>
                  <a:pt x="2697" y="1254"/>
                  <a:pt x="2674" y="1258"/>
                  <a:pt x="2669" y="1242"/>
                </a:cubicBezTo>
                <a:cubicBezTo>
                  <a:pt x="2675" y="1240"/>
                  <a:pt x="2682" y="1246"/>
                  <a:pt x="2685" y="1239"/>
                </a:cubicBezTo>
                <a:cubicBezTo>
                  <a:pt x="2688" y="1234"/>
                  <a:pt x="2679" y="1234"/>
                  <a:pt x="2676" y="1230"/>
                </a:cubicBezTo>
                <a:cubicBezTo>
                  <a:pt x="2672" y="1226"/>
                  <a:pt x="2674" y="1220"/>
                  <a:pt x="2674" y="1215"/>
                </a:cubicBezTo>
                <a:cubicBezTo>
                  <a:pt x="2675" y="1213"/>
                  <a:pt x="2676" y="1211"/>
                  <a:pt x="2679" y="1212"/>
                </a:cubicBezTo>
                <a:cubicBezTo>
                  <a:pt x="2693" y="1223"/>
                  <a:pt x="2692" y="1210"/>
                  <a:pt x="2693" y="1202"/>
                </a:cubicBezTo>
                <a:cubicBezTo>
                  <a:pt x="2700" y="1203"/>
                  <a:pt x="2709" y="1208"/>
                  <a:pt x="2709" y="1200"/>
                </a:cubicBezTo>
                <a:cubicBezTo>
                  <a:pt x="2709" y="1191"/>
                  <a:pt x="2708" y="1187"/>
                  <a:pt x="2718" y="1187"/>
                </a:cubicBezTo>
                <a:cubicBezTo>
                  <a:pt x="2723" y="1187"/>
                  <a:pt x="2722" y="1183"/>
                  <a:pt x="2721" y="1180"/>
                </a:cubicBezTo>
                <a:cubicBezTo>
                  <a:pt x="2720" y="1175"/>
                  <a:pt x="2717" y="1170"/>
                  <a:pt x="2716" y="1165"/>
                </a:cubicBezTo>
                <a:cubicBezTo>
                  <a:pt x="2715" y="1158"/>
                  <a:pt x="2710" y="1149"/>
                  <a:pt x="2725" y="1149"/>
                </a:cubicBezTo>
                <a:cubicBezTo>
                  <a:pt x="2731" y="1150"/>
                  <a:pt x="2735" y="1143"/>
                  <a:pt x="2733" y="1137"/>
                </a:cubicBezTo>
                <a:cubicBezTo>
                  <a:pt x="2731" y="1131"/>
                  <a:pt x="2727" y="1126"/>
                  <a:pt x="2720" y="1129"/>
                </a:cubicBezTo>
                <a:cubicBezTo>
                  <a:pt x="2715" y="1131"/>
                  <a:pt x="2710" y="1133"/>
                  <a:pt x="2705" y="1134"/>
                </a:cubicBezTo>
                <a:cubicBezTo>
                  <a:pt x="2716" y="1127"/>
                  <a:pt x="2714" y="1121"/>
                  <a:pt x="2709" y="1111"/>
                </a:cubicBezTo>
                <a:cubicBezTo>
                  <a:pt x="2702" y="1098"/>
                  <a:pt x="2693" y="1101"/>
                  <a:pt x="2684" y="1104"/>
                </a:cubicBezTo>
                <a:cubicBezTo>
                  <a:pt x="2678" y="1105"/>
                  <a:pt x="2670" y="1104"/>
                  <a:pt x="2671" y="1111"/>
                </a:cubicBezTo>
                <a:cubicBezTo>
                  <a:pt x="2672" y="1118"/>
                  <a:pt x="2679" y="1114"/>
                  <a:pt x="2684" y="1113"/>
                </a:cubicBezTo>
                <a:cubicBezTo>
                  <a:pt x="2694" y="1111"/>
                  <a:pt x="2698" y="1116"/>
                  <a:pt x="2699" y="1125"/>
                </a:cubicBezTo>
                <a:cubicBezTo>
                  <a:pt x="2692" y="1119"/>
                  <a:pt x="2686" y="1117"/>
                  <a:pt x="2680" y="1126"/>
                </a:cubicBezTo>
                <a:cubicBezTo>
                  <a:pt x="2677" y="1132"/>
                  <a:pt x="2672" y="1131"/>
                  <a:pt x="2667" y="1128"/>
                </a:cubicBezTo>
                <a:cubicBezTo>
                  <a:pt x="2663" y="1126"/>
                  <a:pt x="2659" y="1123"/>
                  <a:pt x="2662" y="1117"/>
                </a:cubicBezTo>
                <a:cubicBezTo>
                  <a:pt x="2663" y="1115"/>
                  <a:pt x="2664" y="1111"/>
                  <a:pt x="2663" y="1110"/>
                </a:cubicBezTo>
                <a:cubicBezTo>
                  <a:pt x="2651" y="1094"/>
                  <a:pt x="2666" y="1082"/>
                  <a:pt x="2670" y="1069"/>
                </a:cubicBezTo>
                <a:cubicBezTo>
                  <a:pt x="2672" y="1064"/>
                  <a:pt x="2674" y="1068"/>
                  <a:pt x="2676" y="1069"/>
                </a:cubicBezTo>
                <a:cubicBezTo>
                  <a:pt x="2680" y="1071"/>
                  <a:pt x="2683" y="1071"/>
                  <a:pt x="2685" y="1068"/>
                </a:cubicBezTo>
                <a:cubicBezTo>
                  <a:pt x="2688" y="1064"/>
                  <a:pt x="2685" y="1060"/>
                  <a:pt x="2682" y="1058"/>
                </a:cubicBezTo>
                <a:cubicBezTo>
                  <a:pt x="2669" y="1052"/>
                  <a:pt x="2673" y="1045"/>
                  <a:pt x="2682" y="1038"/>
                </a:cubicBezTo>
                <a:cubicBezTo>
                  <a:pt x="2685" y="1036"/>
                  <a:pt x="2687" y="1032"/>
                  <a:pt x="2686" y="1028"/>
                </a:cubicBezTo>
                <a:cubicBezTo>
                  <a:pt x="2684" y="1024"/>
                  <a:pt x="2679" y="1025"/>
                  <a:pt x="2676" y="1025"/>
                </a:cubicBezTo>
                <a:cubicBezTo>
                  <a:pt x="2671" y="1024"/>
                  <a:pt x="2665" y="1026"/>
                  <a:pt x="2660" y="1023"/>
                </a:cubicBezTo>
                <a:cubicBezTo>
                  <a:pt x="2657" y="1020"/>
                  <a:pt x="2654" y="1013"/>
                  <a:pt x="2649" y="1018"/>
                </a:cubicBezTo>
                <a:cubicBezTo>
                  <a:pt x="2644" y="1022"/>
                  <a:pt x="2653" y="1025"/>
                  <a:pt x="2652" y="1029"/>
                </a:cubicBezTo>
                <a:cubicBezTo>
                  <a:pt x="2646" y="1034"/>
                  <a:pt x="2643" y="1024"/>
                  <a:pt x="2637" y="1028"/>
                </a:cubicBezTo>
                <a:cubicBezTo>
                  <a:pt x="2625" y="1036"/>
                  <a:pt x="2623" y="1026"/>
                  <a:pt x="2622" y="1017"/>
                </a:cubicBezTo>
                <a:cubicBezTo>
                  <a:pt x="2622" y="1011"/>
                  <a:pt x="2620" y="1007"/>
                  <a:pt x="2614" y="1010"/>
                </a:cubicBezTo>
                <a:cubicBezTo>
                  <a:pt x="2606" y="1014"/>
                  <a:pt x="2602" y="1006"/>
                  <a:pt x="2594" y="1005"/>
                </a:cubicBezTo>
                <a:cubicBezTo>
                  <a:pt x="2602" y="999"/>
                  <a:pt x="2603" y="996"/>
                  <a:pt x="2601" y="986"/>
                </a:cubicBezTo>
                <a:cubicBezTo>
                  <a:pt x="2601" y="985"/>
                  <a:pt x="2601" y="982"/>
                  <a:pt x="2602" y="982"/>
                </a:cubicBezTo>
                <a:cubicBezTo>
                  <a:pt x="2610" y="976"/>
                  <a:pt x="2605" y="967"/>
                  <a:pt x="2605" y="960"/>
                </a:cubicBezTo>
                <a:cubicBezTo>
                  <a:pt x="2604" y="951"/>
                  <a:pt x="2605" y="943"/>
                  <a:pt x="2613" y="936"/>
                </a:cubicBezTo>
                <a:cubicBezTo>
                  <a:pt x="2616" y="937"/>
                  <a:pt x="2616" y="950"/>
                  <a:pt x="2622" y="942"/>
                </a:cubicBezTo>
                <a:cubicBezTo>
                  <a:pt x="2631" y="931"/>
                  <a:pt x="2635" y="938"/>
                  <a:pt x="2641" y="945"/>
                </a:cubicBezTo>
                <a:cubicBezTo>
                  <a:pt x="2648" y="951"/>
                  <a:pt x="2659" y="953"/>
                  <a:pt x="2665" y="946"/>
                </a:cubicBezTo>
                <a:cubicBezTo>
                  <a:pt x="2671" y="939"/>
                  <a:pt x="2668" y="930"/>
                  <a:pt x="2661" y="923"/>
                </a:cubicBezTo>
                <a:cubicBezTo>
                  <a:pt x="2658" y="920"/>
                  <a:pt x="2655" y="919"/>
                  <a:pt x="2650" y="921"/>
                </a:cubicBezTo>
                <a:cubicBezTo>
                  <a:pt x="2645" y="925"/>
                  <a:pt x="2638" y="926"/>
                  <a:pt x="2634" y="922"/>
                </a:cubicBezTo>
                <a:cubicBezTo>
                  <a:pt x="2626" y="913"/>
                  <a:pt x="2621" y="917"/>
                  <a:pt x="2614" y="923"/>
                </a:cubicBezTo>
                <a:cubicBezTo>
                  <a:pt x="2617" y="910"/>
                  <a:pt x="2639" y="897"/>
                  <a:pt x="2660" y="895"/>
                </a:cubicBezTo>
                <a:cubicBezTo>
                  <a:pt x="2653" y="896"/>
                  <a:pt x="2650" y="899"/>
                  <a:pt x="2650" y="906"/>
                </a:cubicBezTo>
                <a:cubicBezTo>
                  <a:pt x="2650" y="912"/>
                  <a:pt x="2655" y="913"/>
                  <a:pt x="2660" y="914"/>
                </a:cubicBezTo>
                <a:cubicBezTo>
                  <a:pt x="2666" y="916"/>
                  <a:pt x="2672" y="915"/>
                  <a:pt x="2676" y="910"/>
                </a:cubicBezTo>
                <a:cubicBezTo>
                  <a:pt x="2683" y="902"/>
                  <a:pt x="2676" y="880"/>
                  <a:pt x="2666" y="874"/>
                </a:cubicBezTo>
                <a:cubicBezTo>
                  <a:pt x="2670" y="869"/>
                  <a:pt x="2678" y="875"/>
                  <a:pt x="2679" y="869"/>
                </a:cubicBezTo>
                <a:cubicBezTo>
                  <a:pt x="2681" y="862"/>
                  <a:pt x="2673" y="861"/>
                  <a:pt x="2667" y="860"/>
                </a:cubicBezTo>
                <a:cubicBezTo>
                  <a:pt x="2663" y="859"/>
                  <a:pt x="2661" y="856"/>
                  <a:pt x="2659" y="853"/>
                </a:cubicBezTo>
                <a:cubicBezTo>
                  <a:pt x="2658" y="851"/>
                  <a:pt x="2658" y="846"/>
                  <a:pt x="2653" y="847"/>
                </a:cubicBezTo>
                <a:cubicBezTo>
                  <a:pt x="2650" y="848"/>
                  <a:pt x="2651" y="852"/>
                  <a:pt x="2650" y="855"/>
                </a:cubicBezTo>
                <a:cubicBezTo>
                  <a:pt x="2646" y="863"/>
                  <a:pt x="2643" y="872"/>
                  <a:pt x="2636" y="878"/>
                </a:cubicBezTo>
                <a:cubicBezTo>
                  <a:pt x="2630" y="883"/>
                  <a:pt x="2624" y="874"/>
                  <a:pt x="2618" y="871"/>
                </a:cubicBezTo>
                <a:cubicBezTo>
                  <a:pt x="2609" y="868"/>
                  <a:pt x="2598" y="865"/>
                  <a:pt x="2591" y="872"/>
                </a:cubicBezTo>
                <a:cubicBezTo>
                  <a:pt x="2581" y="882"/>
                  <a:pt x="2568" y="881"/>
                  <a:pt x="2558" y="877"/>
                </a:cubicBezTo>
                <a:cubicBezTo>
                  <a:pt x="2550" y="875"/>
                  <a:pt x="2549" y="874"/>
                  <a:pt x="2549" y="882"/>
                </a:cubicBezTo>
                <a:cubicBezTo>
                  <a:pt x="2548" y="891"/>
                  <a:pt x="2543" y="892"/>
                  <a:pt x="2536" y="890"/>
                </a:cubicBezTo>
                <a:cubicBezTo>
                  <a:pt x="2530" y="889"/>
                  <a:pt x="2525" y="888"/>
                  <a:pt x="2519" y="891"/>
                </a:cubicBezTo>
                <a:cubicBezTo>
                  <a:pt x="2511" y="895"/>
                  <a:pt x="2504" y="892"/>
                  <a:pt x="2499" y="886"/>
                </a:cubicBezTo>
                <a:cubicBezTo>
                  <a:pt x="2493" y="879"/>
                  <a:pt x="2483" y="874"/>
                  <a:pt x="2481" y="863"/>
                </a:cubicBezTo>
                <a:cubicBezTo>
                  <a:pt x="2481" y="861"/>
                  <a:pt x="2479" y="858"/>
                  <a:pt x="2476" y="858"/>
                </a:cubicBezTo>
                <a:cubicBezTo>
                  <a:pt x="2471" y="859"/>
                  <a:pt x="2473" y="863"/>
                  <a:pt x="2474" y="866"/>
                </a:cubicBezTo>
                <a:cubicBezTo>
                  <a:pt x="2477" y="874"/>
                  <a:pt x="2473" y="876"/>
                  <a:pt x="2466" y="876"/>
                </a:cubicBezTo>
                <a:cubicBezTo>
                  <a:pt x="2457" y="876"/>
                  <a:pt x="2446" y="868"/>
                  <a:pt x="2449" y="864"/>
                </a:cubicBezTo>
                <a:cubicBezTo>
                  <a:pt x="2460" y="850"/>
                  <a:pt x="2448" y="852"/>
                  <a:pt x="2442" y="849"/>
                </a:cubicBezTo>
                <a:cubicBezTo>
                  <a:pt x="2448" y="849"/>
                  <a:pt x="2454" y="850"/>
                  <a:pt x="2460" y="850"/>
                </a:cubicBezTo>
                <a:cubicBezTo>
                  <a:pt x="2463" y="851"/>
                  <a:pt x="2468" y="855"/>
                  <a:pt x="2470" y="848"/>
                </a:cubicBezTo>
                <a:cubicBezTo>
                  <a:pt x="2471" y="844"/>
                  <a:pt x="2470" y="840"/>
                  <a:pt x="2465" y="838"/>
                </a:cubicBezTo>
                <a:cubicBezTo>
                  <a:pt x="2451" y="832"/>
                  <a:pt x="2461" y="827"/>
                  <a:pt x="2466" y="823"/>
                </a:cubicBezTo>
                <a:cubicBezTo>
                  <a:pt x="2470" y="826"/>
                  <a:pt x="2473" y="830"/>
                  <a:pt x="2477" y="833"/>
                </a:cubicBezTo>
                <a:cubicBezTo>
                  <a:pt x="2479" y="835"/>
                  <a:pt x="2482" y="837"/>
                  <a:pt x="2484" y="836"/>
                </a:cubicBezTo>
                <a:cubicBezTo>
                  <a:pt x="2487" y="834"/>
                  <a:pt x="2488" y="831"/>
                  <a:pt x="2487" y="829"/>
                </a:cubicBezTo>
                <a:cubicBezTo>
                  <a:pt x="2485" y="815"/>
                  <a:pt x="2486" y="801"/>
                  <a:pt x="2478" y="790"/>
                </a:cubicBezTo>
                <a:cubicBezTo>
                  <a:pt x="2494" y="797"/>
                  <a:pt x="2495" y="797"/>
                  <a:pt x="2500" y="778"/>
                </a:cubicBezTo>
                <a:cubicBezTo>
                  <a:pt x="2503" y="767"/>
                  <a:pt x="2501" y="755"/>
                  <a:pt x="2513" y="746"/>
                </a:cubicBezTo>
                <a:cubicBezTo>
                  <a:pt x="2517" y="743"/>
                  <a:pt x="2517" y="737"/>
                  <a:pt x="2511" y="733"/>
                </a:cubicBezTo>
                <a:cubicBezTo>
                  <a:pt x="2506" y="731"/>
                  <a:pt x="2503" y="727"/>
                  <a:pt x="2499" y="723"/>
                </a:cubicBezTo>
                <a:cubicBezTo>
                  <a:pt x="2506" y="721"/>
                  <a:pt x="2511" y="729"/>
                  <a:pt x="2516" y="723"/>
                </a:cubicBezTo>
                <a:cubicBezTo>
                  <a:pt x="2519" y="720"/>
                  <a:pt x="2516" y="715"/>
                  <a:pt x="2513" y="714"/>
                </a:cubicBezTo>
                <a:cubicBezTo>
                  <a:pt x="2502" y="708"/>
                  <a:pt x="2498" y="691"/>
                  <a:pt x="2481" y="692"/>
                </a:cubicBezTo>
                <a:cubicBezTo>
                  <a:pt x="2472" y="692"/>
                  <a:pt x="2464" y="689"/>
                  <a:pt x="2470" y="675"/>
                </a:cubicBezTo>
                <a:cubicBezTo>
                  <a:pt x="2476" y="662"/>
                  <a:pt x="2464" y="653"/>
                  <a:pt x="2457" y="644"/>
                </a:cubicBezTo>
                <a:cubicBezTo>
                  <a:pt x="2451" y="638"/>
                  <a:pt x="2447" y="646"/>
                  <a:pt x="2443" y="650"/>
                </a:cubicBezTo>
                <a:cubicBezTo>
                  <a:pt x="2441" y="653"/>
                  <a:pt x="2434" y="653"/>
                  <a:pt x="2432" y="649"/>
                </a:cubicBezTo>
                <a:cubicBezTo>
                  <a:pt x="2429" y="646"/>
                  <a:pt x="2425" y="643"/>
                  <a:pt x="2426" y="638"/>
                </a:cubicBezTo>
                <a:cubicBezTo>
                  <a:pt x="2427" y="637"/>
                  <a:pt x="2430" y="635"/>
                  <a:pt x="2431" y="635"/>
                </a:cubicBezTo>
                <a:cubicBezTo>
                  <a:pt x="2438" y="639"/>
                  <a:pt x="2445" y="634"/>
                  <a:pt x="2451" y="636"/>
                </a:cubicBezTo>
                <a:cubicBezTo>
                  <a:pt x="2455" y="638"/>
                  <a:pt x="2457" y="637"/>
                  <a:pt x="2459" y="634"/>
                </a:cubicBezTo>
                <a:cubicBezTo>
                  <a:pt x="2461" y="629"/>
                  <a:pt x="2459" y="628"/>
                  <a:pt x="2455" y="625"/>
                </a:cubicBezTo>
                <a:cubicBezTo>
                  <a:pt x="2449" y="620"/>
                  <a:pt x="2431" y="627"/>
                  <a:pt x="2438" y="608"/>
                </a:cubicBezTo>
                <a:cubicBezTo>
                  <a:pt x="2439" y="604"/>
                  <a:pt x="2395" y="592"/>
                  <a:pt x="2387" y="594"/>
                </a:cubicBezTo>
                <a:cubicBezTo>
                  <a:pt x="2392" y="602"/>
                  <a:pt x="2400" y="604"/>
                  <a:pt x="2407" y="607"/>
                </a:cubicBezTo>
                <a:cubicBezTo>
                  <a:pt x="2417" y="612"/>
                  <a:pt x="2414" y="619"/>
                  <a:pt x="2411" y="626"/>
                </a:cubicBezTo>
                <a:cubicBezTo>
                  <a:pt x="2409" y="629"/>
                  <a:pt x="2405" y="633"/>
                  <a:pt x="2402" y="628"/>
                </a:cubicBezTo>
                <a:cubicBezTo>
                  <a:pt x="2393" y="613"/>
                  <a:pt x="2383" y="617"/>
                  <a:pt x="2372" y="624"/>
                </a:cubicBezTo>
                <a:cubicBezTo>
                  <a:pt x="2370" y="625"/>
                  <a:pt x="2367" y="627"/>
                  <a:pt x="2366" y="627"/>
                </a:cubicBezTo>
                <a:cubicBezTo>
                  <a:pt x="2362" y="619"/>
                  <a:pt x="2356" y="614"/>
                  <a:pt x="2348" y="612"/>
                </a:cubicBezTo>
                <a:cubicBezTo>
                  <a:pt x="2358" y="603"/>
                  <a:pt x="2340" y="595"/>
                  <a:pt x="2348" y="587"/>
                </a:cubicBezTo>
                <a:cubicBezTo>
                  <a:pt x="2348" y="586"/>
                  <a:pt x="2349" y="583"/>
                  <a:pt x="2350" y="583"/>
                </a:cubicBezTo>
                <a:cubicBezTo>
                  <a:pt x="2360" y="586"/>
                  <a:pt x="2360" y="566"/>
                  <a:pt x="2372" y="573"/>
                </a:cubicBezTo>
                <a:cubicBezTo>
                  <a:pt x="2373" y="574"/>
                  <a:pt x="2376" y="571"/>
                  <a:pt x="2376" y="569"/>
                </a:cubicBezTo>
                <a:cubicBezTo>
                  <a:pt x="2375" y="559"/>
                  <a:pt x="2381" y="548"/>
                  <a:pt x="2372" y="539"/>
                </a:cubicBezTo>
                <a:cubicBezTo>
                  <a:pt x="2367" y="533"/>
                  <a:pt x="2366" y="529"/>
                  <a:pt x="2375" y="524"/>
                </a:cubicBezTo>
                <a:cubicBezTo>
                  <a:pt x="2382" y="519"/>
                  <a:pt x="2378" y="513"/>
                  <a:pt x="2374" y="507"/>
                </a:cubicBezTo>
                <a:cubicBezTo>
                  <a:pt x="2373" y="506"/>
                  <a:pt x="2366" y="505"/>
                  <a:pt x="2373" y="502"/>
                </a:cubicBezTo>
                <a:cubicBezTo>
                  <a:pt x="2384" y="496"/>
                  <a:pt x="2377" y="491"/>
                  <a:pt x="2371" y="487"/>
                </a:cubicBezTo>
                <a:cubicBezTo>
                  <a:pt x="2365" y="484"/>
                  <a:pt x="2359" y="480"/>
                  <a:pt x="2356" y="468"/>
                </a:cubicBezTo>
                <a:cubicBezTo>
                  <a:pt x="2360" y="472"/>
                  <a:pt x="2361" y="473"/>
                  <a:pt x="2362" y="474"/>
                </a:cubicBezTo>
                <a:cubicBezTo>
                  <a:pt x="2367" y="476"/>
                  <a:pt x="2369" y="485"/>
                  <a:pt x="2375" y="480"/>
                </a:cubicBezTo>
                <a:cubicBezTo>
                  <a:pt x="2379" y="477"/>
                  <a:pt x="2385" y="471"/>
                  <a:pt x="2385" y="467"/>
                </a:cubicBezTo>
                <a:cubicBezTo>
                  <a:pt x="2385" y="459"/>
                  <a:pt x="2376" y="463"/>
                  <a:pt x="2371" y="461"/>
                </a:cubicBezTo>
                <a:cubicBezTo>
                  <a:pt x="2368" y="461"/>
                  <a:pt x="2364" y="459"/>
                  <a:pt x="2361" y="460"/>
                </a:cubicBezTo>
                <a:cubicBezTo>
                  <a:pt x="2350" y="464"/>
                  <a:pt x="2351" y="458"/>
                  <a:pt x="2351" y="450"/>
                </a:cubicBezTo>
                <a:cubicBezTo>
                  <a:pt x="2351" y="445"/>
                  <a:pt x="2353" y="441"/>
                  <a:pt x="2357" y="437"/>
                </a:cubicBezTo>
                <a:cubicBezTo>
                  <a:pt x="2360" y="433"/>
                  <a:pt x="2362" y="428"/>
                  <a:pt x="2358" y="424"/>
                </a:cubicBezTo>
                <a:cubicBezTo>
                  <a:pt x="2353" y="420"/>
                  <a:pt x="2347" y="416"/>
                  <a:pt x="2342" y="413"/>
                </a:cubicBezTo>
                <a:cubicBezTo>
                  <a:pt x="2336" y="416"/>
                  <a:pt x="2345" y="421"/>
                  <a:pt x="2340" y="424"/>
                </a:cubicBezTo>
                <a:cubicBezTo>
                  <a:pt x="2320" y="410"/>
                  <a:pt x="2315" y="413"/>
                  <a:pt x="2308" y="444"/>
                </a:cubicBezTo>
                <a:cubicBezTo>
                  <a:pt x="2304" y="434"/>
                  <a:pt x="2301" y="427"/>
                  <a:pt x="2292" y="423"/>
                </a:cubicBezTo>
                <a:cubicBezTo>
                  <a:pt x="2284" y="420"/>
                  <a:pt x="2284" y="415"/>
                  <a:pt x="2292" y="410"/>
                </a:cubicBezTo>
                <a:cubicBezTo>
                  <a:pt x="2303" y="402"/>
                  <a:pt x="2305" y="389"/>
                  <a:pt x="2297" y="378"/>
                </a:cubicBezTo>
                <a:cubicBezTo>
                  <a:pt x="2294" y="373"/>
                  <a:pt x="2293" y="369"/>
                  <a:pt x="2293" y="363"/>
                </a:cubicBezTo>
                <a:cubicBezTo>
                  <a:pt x="2294" y="355"/>
                  <a:pt x="2290" y="349"/>
                  <a:pt x="2286" y="343"/>
                </a:cubicBezTo>
                <a:cubicBezTo>
                  <a:pt x="2280" y="333"/>
                  <a:pt x="2270" y="332"/>
                  <a:pt x="2261" y="337"/>
                </a:cubicBezTo>
                <a:cubicBezTo>
                  <a:pt x="2251" y="343"/>
                  <a:pt x="2259" y="351"/>
                  <a:pt x="2261" y="357"/>
                </a:cubicBezTo>
                <a:cubicBezTo>
                  <a:pt x="2262" y="361"/>
                  <a:pt x="2269" y="365"/>
                  <a:pt x="2263" y="368"/>
                </a:cubicBezTo>
                <a:cubicBezTo>
                  <a:pt x="2258" y="372"/>
                  <a:pt x="2253" y="364"/>
                  <a:pt x="2247" y="363"/>
                </a:cubicBezTo>
                <a:cubicBezTo>
                  <a:pt x="2242" y="363"/>
                  <a:pt x="2241" y="360"/>
                  <a:pt x="2243" y="357"/>
                </a:cubicBezTo>
                <a:cubicBezTo>
                  <a:pt x="2249" y="349"/>
                  <a:pt x="2246" y="344"/>
                  <a:pt x="2236" y="341"/>
                </a:cubicBezTo>
                <a:cubicBezTo>
                  <a:pt x="2240" y="339"/>
                  <a:pt x="2242" y="338"/>
                  <a:pt x="2243" y="337"/>
                </a:cubicBezTo>
                <a:cubicBezTo>
                  <a:pt x="2247" y="333"/>
                  <a:pt x="2257" y="331"/>
                  <a:pt x="2253" y="325"/>
                </a:cubicBezTo>
                <a:cubicBezTo>
                  <a:pt x="2250" y="320"/>
                  <a:pt x="2241" y="318"/>
                  <a:pt x="2233" y="321"/>
                </a:cubicBezTo>
                <a:cubicBezTo>
                  <a:pt x="2226" y="324"/>
                  <a:pt x="2224" y="330"/>
                  <a:pt x="2223" y="337"/>
                </a:cubicBezTo>
                <a:cubicBezTo>
                  <a:pt x="2221" y="348"/>
                  <a:pt x="2208" y="360"/>
                  <a:pt x="2197" y="361"/>
                </a:cubicBezTo>
                <a:cubicBezTo>
                  <a:pt x="2190" y="361"/>
                  <a:pt x="2188" y="365"/>
                  <a:pt x="2187" y="371"/>
                </a:cubicBezTo>
                <a:cubicBezTo>
                  <a:pt x="2187" y="377"/>
                  <a:pt x="2191" y="380"/>
                  <a:pt x="2196" y="381"/>
                </a:cubicBezTo>
                <a:cubicBezTo>
                  <a:pt x="2203" y="384"/>
                  <a:pt x="2203" y="388"/>
                  <a:pt x="2201" y="395"/>
                </a:cubicBezTo>
                <a:cubicBezTo>
                  <a:pt x="2199" y="402"/>
                  <a:pt x="2197" y="403"/>
                  <a:pt x="2190" y="400"/>
                </a:cubicBezTo>
                <a:cubicBezTo>
                  <a:pt x="2184" y="397"/>
                  <a:pt x="2183" y="402"/>
                  <a:pt x="2186" y="406"/>
                </a:cubicBezTo>
                <a:cubicBezTo>
                  <a:pt x="2192" y="413"/>
                  <a:pt x="2187" y="415"/>
                  <a:pt x="2183" y="417"/>
                </a:cubicBezTo>
                <a:cubicBezTo>
                  <a:pt x="2175" y="419"/>
                  <a:pt x="2180" y="412"/>
                  <a:pt x="2179" y="410"/>
                </a:cubicBezTo>
                <a:cubicBezTo>
                  <a:pt x="2174" y="401"/>
                  <a:pt x="2170" y="392"/>
                  <a:pt x="2159" y="404"/>
                </a:cubicBezTo>
                <a:cubicBezTo>
                  <a:pt x="2155" y="408"/>
                  <a:pt x="2150" y="410"/>
                  <a:pt x="2143" y="409"/>
                </a:cubicBezTo>
                <a:cubicBezTo>
                  <a:pt x="2135" y="407"/>
                  <a:pt x="2127" y="413"/>
                  <a:pt x="2125" y="421"/>
                </a:cubicBezTo>
                <a:cubicBezTo>
                  <a:pt x="2123" y="431"/>
                  <a:pt x="2132" y="428"/>
                  <a:pt x="2137" y="429"/>
                </a:cubicBezTo>
                <a:cubicBezTo>
                  <a:pt x="2142" y="430"/>
                  <a:pt x="2143" y="433"/>
                  <a:pt x="2144" y="437"/>
                </a:cubicBezTo>
                <a:cubicBezTo>
                  <a:pt x="2146" y="440"/>
                  <a:pt x="2148" y="445"/>
                  <a:pt x="2150" y="446"/>
                </a:cubicBezTo>
                <a:cubicBezTo>
                  <a:pt x="2158" y="447"/>
                  <a:pt x="2165" y="449"/>
                  <a:pt x="2162" y="459"/>
                </a:cubicBezTo>
                <a:cubicBezTo>
                  <a:pt x="2160" y="468"/>
                  <a:pt x="2157" y="476"/>
                  <a:pt x="2145" y="477"/>
                </a:cubicBezTo>
                <a:cubicBezTo>
                  <a:pt x="2137" y="477"/>
                  <a:pt x="2135" y="489"/>
                  <a:pt x="2138" y="490"/>
                </a:cubicBezTo>
                <a:cubicBezTo>
                  <a:pt x="2147" y="495"/>
                  <a:pt x="2147" y="506"/>
                  <a:pt x="2154" y="511"/>
                </a:cubicBezTo>
                <a:cubicBezTo>
                  <a:pt x="2147" y="514"/>
                  <a:pt x="2145" y="510"/>
                  <a:pt x="2141" y="505"/>
                </a:cubicBezTo>
                <a:cubicBezTo>
                  <a:pt x="2136" y="499"/>
                  <a:pt x="2128" y="489"/>
                  <a:pt x="2118" y="498"/>
                </a:cubicBezTo>
                <a:cubicBezTo>
                  <a:pt x="2111" y="503"/>
                  <a:pt x="2106" y="514"/>
                  <a:pt x="2115" y="519"/>
                </a:cubicBezTo>
                <a:cubicBezTo>
                  <a:pt x="2130" y="528"/>
                  <a:pt x="2118" y="536"/>
                  <a:pt x="2116" y="544"/>
                </a:cubicBezTo>
                <a:cubicBezTo>
                  <a:pt x="2116" y="547"/>
                  <a:pt x="2109" y="545"/>
                  <a:pt x="2109" y="544"/>
                </a:cubicBezTo>
                <a:cubicBezTo>
                  <a:pt x="2115" y="528"/>
                  <a:pt x="2087" y="516"/>
                  <a:pt x="2105" y="500"/>
                </a:cubicBezTo>
                <a:cubicBezTo>
                  <a:pt x="2107" y="498"/>
                  <a:pt x="2104" y="494"/>
                  <a:pt x="2101" y="494"/>
                </a:cubicBezTo>
                <a:cubicBezTo>
                  <a:pt x="2096" y="493"/>
                  <a:pt x="2092" y="486"/>
                  <a:pt x="2086" y="489"/>
                </a:cubicBezTo>
                <a:cubicBezTo>
                  <a:pt x="2077" y="492"/>
                  <a:pt x="2091" y="498"/>
                  <a:pt x="2084" y="502"/>
                </a:cubicBezTo>
                <a:cubicBezTo>
                  <a:pt x="2081" y="501"/>
                  <a:pt x="2078" y="498"/>
                  <a:pt x="2078" y="495"/>
                </a:cubicBezTo>
                <a:cubicBezTo>
                  <a:pt x="2080" y="481"/>
                  <a:pt x="2076" y="475"/>
                  <a:pt x="2060" y="479"/>
                </a:cubicBezTo>
                <a:cubicBezTo>
                  <a:pt x="2052" y="482"/>
                  <a:pt x="2061" y="469"/>
                  <a:pt x="2053" y="468"/>
                </a:cubicBezTo>
                <a:cubicBezTo>
                  <a:pt x="2052" y="468"/>
                  <a:pt x="2052" y="465"/>
                  <a:pt x="2054" y="464"/>
                </a:cubicBezTo>
                <a:cubicBezTo>
                  <a:pt x="2059" y="462"/>
                  <a:pt x="2060" y="465"/>
                  <a:pt x="2061" y="469"/>
                </a:cubicBezTo>
                <a:cubicBezTo>
                  <a:pt x="2064" y="476"/>
                  <a:pt x="2070" y="475"/>
                  <a:pt x="2074" y="471"/>
                </a:cubicBezTo>
                <a:cubicBezTo>
                  <a:pt x="2081" y="466"/>
                  <a:pt x="2074" y="464"/>
                  <a:pt x="2071" y="461"/>
                </a:cubicBezTo>
                <a:cubicBezTo>
                  <a:pt x="2068" y="459"/>
                  <a:pt x="2065" y="455"/>
                  <a:pt x="2068" y="452"/>
                </a:cubicBezTo>
                <a:cubicBezTo>
                  <a:pt x="2081" y="441"/>
                  <a:pt x="2079" y="432"/>
                  <a:pt x="2065" y="424"/>
                </a:cubicBezTo>
                <a:cubicBezTo>
                  <a:pt x="2064" y="423"/>
                  <a:pt x="2064" y="422"/>
                  <a:pt x="2064" y="421"/>
                </a:cubicBezTo>
                <a:cubicBezTo>
                  <a:pt x="2067" y="403"/>
                  <a:pt x="2049" y="397"/>
                  <a:pt x="2040" y="395"/>
                </a:cubicBezTo>
                <a:cubicBezTo>
                  <a:pt x="2023" y="390"/>
                  <a:pt x="2015" y="376"/>
                  <a:pt x="2001" y="369"/>
                </a:cubicBezTo>
                <a:cubicBezTo>
                  <a:pt x="1997" y="367"/>
                  <a:pt x="1999" y="361"/>
                  <a:pt x="2002" y="360"/>
                </a:cubicBezTo>
                <a:cubicBezTo>
                  <a:pt x="2019" y="351"/>
                  <a:pt x="2011" y="332"/>
                  <a:pt x="2020" y="320"/>
                </a:cubicBezTo>
                <a:cubicBezTo>
                  <a:pt x="2021" y="318"/>
                  <a:pt x="2020" y="317"/>
                  <a:pt x="2019" y="315"/>
                </a:cubicBezTo>
                <a:cubicBezTo>
                  <a:pt x="2030" y="323"/>
                  <a:pt x="2046" y="312"/>
                  <a:pt x="2057" y="323"/>
                </a:cubicBezTo>
                <a:cubicBezTo>
                  <a:pt x="2050" y="310"/>
                  <a:pt x="2044" y="297"/>
                  <a:pt x="2035" y="287"/>
                </a:cubicBezTo>
                <a:cubicBezTo>
                  <a:pt x="2029" y="280"/>
                  <a:pt x="2016" y="286"/>
                  <a:pt x="2014" y="296"/>
                </a:cubicBezTo>
                <a:cubicBezTo>
                  <a:pt x="2013" y="300"/>
                  <a:pt x="2013" y="305"/>
                  <a:pt x="2013" y="310"/>
                </a:cubicBezTo>
                <a:cubicBezTo>
                  <a:pt x="2014" y="311"/>
                  <a:pt x="2015" y="311"/>
                  <a:pt x="2016" y="312"/>
                </a:cubicBezTo>
                <a:cubicBezTo>
                  <a:pt x="2016" y="312"/>
                  <a:pt x="2016" y="312"/>
                  <a:pt x="2016" y="312"/>
                </a:cubicBezTo>
                <a:cubicBezTo>
                  <a:pt x="2016" y="312"/>
                  <a:pt x="2016" y="312"/>
                  <a:pt x="2016" y="312"/>
                </a:cubicBezTo>
                <a:cubicBezTo>
                  <a:pt x="2015" y="311"/>
                  <a:pt x="2014" y="311"/>
                  <a:pt x="2013" y="310"/>
                </a:cubicBezTo>
                <a:cubicBezTo>
                  <a:pt x="2006" y="304"/>
                  <a:pt x="2005" y="302"/>
                  <a:pt x="1998" y="264"/>
                </a:cubicBezTo>
                <a:cubicBezTo>
                  <a:pt x="2013" y="277"/>
                  <a:pt x="2029" y="281"/>
                  <a:pt x="2048" y="271"/>
                </a:cubicBezTo>
                <a:cubicBezTo>
                  <a:pt x="2058" y="265"/>
                  <a:pt x="2058" y="255"/>
                  <a:pt x="2058" y="248"/>
                </a:cubicBezTo>
                <a:cubicBezTo>
                  <a:pt x="2059" y="240"/>
                  <a:pt x="2048" y="242"/>
                  <a:pt x="2041" y="243"/>
                </a:cubicBezTo>
                <a:cubicBezTo>
                  <a:pt x="2036" y="244"/>
                  <a:pt x="2028" y="241"/>
                  <a:pt x="2028" y="251"/>
                </a:cubicBezTo>
                <a:cubicBezTo>
                  <a:pt x="2028" y="256"/>
                  <a:pt x="2023" y="257"/>
                  <a:pt x="2021" y="256"/>
                </a:cubicBezTo>
                <a:cubicBezTo>
                  <a:pt x="2010" y="251"/>
                  <a:pt x="1998" y="252"/>
                  <a:pt x="1988" y="249"/>
                </a:cubicBezTo>
                <a:cubicBezTo>
                  <a:pt x="1974" y="245"/>
                  <a:pt x="1966" y="249"/>
                  <a:pt x="1960" y="263"/>
                </a:cubicBezTo>
                <a:cubicBezTo>
                  <a:pt x="1954" y="274"/>
                  <a:pt x="1953" y="292"/>
                  <a:pt x="1932" y="290"/>
                </a:cubicBezTo>
                <a:cubicBezTo>
                  <a:pt x="1930" y="289"/>
                  <a:pt x="1926" y="293"/>
                  <a:pt x="1925" y="295"/>
                </a:cubicBezTo>
                <a:cubicBezTo>
                  <a:pt x="1925" y="303"/>
                  <a:pt x="1923" y="307"/>
                  <a:pt x="1914" y="306"/>
                </a:cubicBezTo>
                <a:cubicBezTo>
                  <a:pt x="1909" y="305"/>
                  <a:pt x="1903" y="309"/>
                  <a:pt x="1899" y="301"/>
                </a:cubicBezTo>
                <a:cubicBezTo>
                  <a:pt x="1894" y="293"/>
                  <a:pt x="1886" y="298"/>
                  <a:pt x="1884" y="304"/>
                </a:cubicBezTo>
                <a:cubicBezTo>
                  <a:pt x="1880" y="314"/>
                  <a:pt x="1875" y="309"/>
                  <a:pt x="1865" y="307"/>
                </a:cubicBezTo>
                <a:cubicBezTo>
                  <a:pt x="1882" y="302"/>
                  <a:pt x="1893" y="296"/>
                  <a:pt x="1889" y="278"/>
                </a:cubicBezTo>
                <a:cubicBezTo>
                  <a:pt x="1889" y="277"/>
                  <a:pt x="1892" y="275"/>
                  <a:pt x="1893" y="272"/>
                </a:cubicBezTo>
                <a:cubicBezTo>
                  <a:pt x="1896" y="266"/>
                  <a:pt x="1897" y="260"/>
                  <a:pt x="1891" y="255"/>
                </a:cubicBezTo>
                <a:cubicBezTo>
                  <a:pt x="1887" y="252"/>
                  <a:pt x="1881" y="251"/>
                  <a:pt x="1877" y="255"/>
                </a:cubicBezTo>
                <a:cubicBezTo>
                  <a:pt x="1870" y="261"/>
                  <a:pt x="1882" y="263"/>
                  <a:pt x="1881" y="269"/>
                </a:cubicBezTo>
                <a:cubicBezTo>
                  <a:pt x="1864" y="262"/>
                  <a:pt x="1852" y="235"/>
                  <a:pt x="1855" y="211"/>
                </a:cubicBezTo>
                <a:cubicBezTo>
                  <a:pt x="1860" y="213"/>
                  <a:pt x="1865" y="218"/>
                  <a:pt x="1871" y="216"/>
                </a:cubicBezTo>
                <a:cubicBezTo>
                  <a:pt x="1877" y="214"/>
                  <a:pt x="1881" y="217"/>
                  <a:pt x="1884" y="223"/>
                </a:cubicBezTo>
                <a:cubicBezTo>
                  <a:pt x="1877" y="226"/>
                  <a:pt x="1874" y="214"/>
                  <a:pt x="1867" y="221"/>
                </a:cubicBezTo>
                <a:cubicBezTo>
                  <a:pt x="1865" y="224"/>
                  <a:pt x="1865" y="227"/>
                  <a:pt x="1867" y="230"/>
                </a:cubicBezTo>
                <a:cubicBezTo>
                  <a:pt x="1871" y="237"/>
                  <a:pt x="1877" y="242"/>
                  <a:pt x="1885" y="241"/>
                </a:cubicBezTo>
                <a:cubicBezTo>
                  <a:pt x="1895" y="239"/>
                  <a:pt x="1895" y="229"/>
                  <a:pt x="1897" y="221"/>
                </a:cubicBezTo>
                <a:cubicBezTo>
                  <a:pt x="1898" y="213"/>
                  <a:pt x="1892" y="211"/>
                  <a:pt x="1885" y="208"/>
                </a:cubicBezTo>
                <a:cubicBezTo>
                  <a:pt x="1868" y="202"/>
                  <a:pt x="1848" y="201"/>
                  <a:pt x="1837" y="182"/>
                </a:cubicBezTo>
                <a:cubicBezTo>
                  <a:pt x="1852" y="173"/>
                  <a:pt x="1852" y="173"/>
                  <a:pt x="1837" y="162"/>
                </a:cubicBezTo>
                <a:cubicBezTo>
                  <a:pt x="1834" y="160"/>
                  <a:pt x="1832" y="158"/>
                  <a:pt x="1832" y="155"/>
                </a:cubicBezTo>
                <a:cubicBezTo>
                  <a:pt x="1829" y="136"/>
                  <a:pt x="1819" y="125"/>
                  <a:pt x="1801" y="122"/>
                </a:cubicBezTo>
                <a:cubicBezTo>
                  <a:pt x="1797" y="122"/>
                  <a:pt x="1795" y="116"/>
                  <a:pt x="1791" y="120"/>
                </a:cubicBezTo>
                <a:cubicBezTo>
                  <a:pt x="1788" y="123"/>
                  <a:pt x="1788" y="128"/>
                  <a:pt x="1792" y="131"/>
                </a:cubicBezTo>
                <a:cubicBezTo>
                  <a:pt x="1795" y="133"/>
                  <a:pt x="1797" y="136"/>
                  <a:pt x="1794" y="139"/>
                </a:cubicBezTo>
                <a:cubicBezTo>
                  <a:pt x="1792" y="142"/>
                  <a:pt x="1789" y="141"/>
                  <a:pt x="1786" y="140"/>
                </a:cubicBezTo>
                <a:cubicBezTo>
                  <a:pt x="1783" y="139"/>
                  <a:pt x="1780" y="138"/>
                  <a:pt x="1777" y="138"/>
                </a:cubicBezTo>
                <a:cubicBezTo>
                  <a:pt x="1773" y="138"/>
                  <a:pt x="1768" y="144"/>
                  <a:pt x="1764" y="138"/>
                </a:cubicBezTo>
                <a:cubicBezTo>
                  <a:pt x="1761" y="133"/>
                  <a:pt x="1765" y="128"/>
                  <a:pt x="1768" y="124"/>
                </a:cubicBezTo>
                <a:cubicBezTo>
                  <a:pt x="1771" y="119"/>
                  <a:pt x="1774" y="113"/>
                  <a:pt x="1767" y="109"/>
                </a:cubicBezTo>
                <a:cubicBezTo>
                  <a:pt x="1761" y="105"/>
                  <a:pt x="1753" y="102"/>
                  <a:pt x="1748" y="110"/>
                </a:cubicBezTo>
                <a:cubicBezTo>
                  <a:pt x="1745" y="115"/>
                  <a:pt x="1741" y="117"/>
                  <a:pt x="1737" y="119"/>
                </a:cubicBezTo>
                <a:cubicBezTo>
                  <a:pt x="1723" y="127"/>
                  <a:pt x="1711" y="137"/>
                  <a:pt x="1706" y="153"/>
                </a:cubicBezTo>
                <a:cubicBezTo>
                  <a:pt x="1705" y="156"/>
                  <a:pt x="1675" y="184"/>
                  <a:pt x="1674" y="183"/>
                </a:cubicBezTo>
                <a:cubicBezTo>
                  <a:pt x="1669" y="180"/>
                  <a:pt x="1665" y="176"/>
                  <a:pt x="1661" y="173"/>
                </a:cubicBezTo>
                <a:cubicBezTo>
                  <a:pt x="1666" y="167"/>
                  <a:pt x="1681" y="177"/>
                  <a:pt x="1677" y="165"/>
                </a:cubicBezTo>
                <a:cubicBezTo>
                  <a:pt x="1673" y="155"/>
                  <a:pt x="1669" y="143"/>
                  <a:pt x="1661" y="135"/>
                </a:cubicBezTo>
                <a:cubicBezTo>
                  <a:pt x="1649" y="123"/>
                  <a:pt x="1646" y="107"/>
                  <a:pt x="1634" y="94"/>
                </a:cubicBezTo>
                <a:cubicBezTo>
                  <a:pt x="1640" y="94"/>
                  <a:pt x="1643" y="94"/>
                  <a:pt x="1646" y="94"/>
                </a:cubicBezTo>
                <a:cubicBezTo>
                  <a:pt x="1650" y="95"/>
                  <a:pt x="1655" y="98"/>
                  <a:pt x="1658" y="93"/>
                </a:cubicBezTo>
                <a:cubicBezTo>
                  <a:pt x="1661" y="89"/>
                  <a:pt x="1657" y="85"/>
                  <a:pt x="1655" y="82"/>
                </a:cubicBezTo>
                <a:cubicBezTo>
                  <a:pt x="1648" y="73"/>
                  <a:pt x="1642" y="63"/>
                  <a:pt x="1633" y="54"/>
                </a:cubicBezTo>
                <a:cubicBezTo>
                  <a:pt x="1618" y="41"/>
                  <a:pt x="1610" y="47"/>
                  <a:pt x="1600" y="55"/>
                </a:cubicBezTo>
                <a:cubicBezTo>
                  <a:pt x="1594" y="60"/>
                  <a:pt x="1588" y="62"/>
                  <a:pt x="1579" y="62"/>
                </a:cubicBezTo>
                <a:cubicBezTo>
                  <a:pt x="1584" y="51"/>
                  <a:pt x="1577" y="42"/>
                  <a:pt x="1572" y="33"/>
                </a:cubicBezTo>
                <a:cubicBezTo>
                  <a:pt x="1569" y="28"/>
                  <a:pt x="1565" y="24"/>
                  <a:pt x="1569" y="17"/>
                </a:cubicBezTo>
                <a:cubicBezTo>
                  <a:pt x="1572" y="12"/>
                  <a:pt x="1557" y="0"/>
                  <a:pt x="1551" y="2"/>
                </a:cubicBezTo>
                <a:cubicBezTo>
                  <a:pt x="1542" y="7"/>
                  <a:pt x="1533" y="12"/>
                  <a:pt x="1524" y="17"/>
                </a:cubicBezTo>
                <a:cubicBezTo>
                  <a:pt x="1518" y="20"/>
                  <a:pt x="1518" y="25"/>
                  <a:pt x="1519" y="32"/>
                </a:cubicBezTo>
                <a:cubicBezTo>
                  <a:pt x="1520" y="39"/>
                  <a:pt x="1528" y="51"/>
                  <a:pt x="1518" y="54"/>
                </a:cubicBezTo>
                <a:cubicBezTo>
                  <a:pt x="1503" y="60"/>
                  <a:pt x="1505" y="67"/>
                  <a:pt x="1512" y="77"/>
                </a:cubicBezTo>
                <a:cubicBezTo>
                  <a:pt x="1500" y="78"/>
                  <a:pt x="1497" y="59"/>
                  <a:pt x="1486" y="68"/>
                </a:cubicBezTo>
                <a:cubicBezTo>
                  <a:pt x="1482" y="71"/>
                  <a:pt x="1480" y="79"/>
                  <a:pt x="1478" y="86"/>
                </a:cubicBezTo>
                <a:cubicBezTo>
                  <a:pt x="1476" y="96"/>
                  <a:pt x="1492" y="93"/>
                  <a:pt x="1489" y="102"/>
                </a:cubicBezTo>
                <a:cubicBezTo>
                  <a:pt x="1481" y="104"/>
                  <a:pt x="1472" y="96"/>
                  <a:pt x="1466" y="107"/>
                </a:cubicBezTo>
                <a:cubicBezTo>
                  <a:pt x="1462" y="115"/>
                  <a:pt x="1468" y="120"/>
                  <a:pt x="1474" y="124"/>
                </a:cubicBezTo>
                <a:cubicBezTo>
                  <a:pt x="1471" y="125"/>
                  <a:pt x="1470" y="126"/>
                  <a:pt x="1469" y="127"/>
                </a:cubicBezTo>
                <a:cubicBezTo>
                  <a:pt x="1463" y="130"/>
                  <a:pt x="1452" y="131"/>
                  <a:pt x="1456" y="140"/>
                </a:cubicBezTo>
                <a:cubicBezTo>
                  <a:pt x="1458" y="147"/>
                  <a:pt x="1466" y="148"/>
                  <a:pt x="1475" y="145"/>
                </a:cubicBezTo>
                <a:cubicBezTo>
                  <a:pt x="1483" y="141"/>
                  <a:pt x="1482" y="149"/>
                  <a:pt x="1481" y="154"/>
                </a:cubicBezTo>
                <a:cubicBezTo>
                  <a:pt x="1479" y="165"/>
                  <a:pt x="1467" y="166"/>
                  <a:pt x="1458" y="171"/>
                </a:cubicBezTo>
                <a:cubicBezTo>
                  <a:pt x="1467" y="173"/>
                  <a:pt x="1468" y="175"/>
                  <a:pt x="1480" y="192"/>
                </a:cubicBezTo>
                <a:cubicBezTo>
                  <a:pt x="1459" y="184"/>
                  <a:pt x="1454" y="186"/>
                  <a:pt x="1442" y="206"/>
                </a:cubicBezTo>
                <a:cubicBezTo>
                  <a:pt x="1440" y="209"/>
                  <a:pt x="1441" y="214"/>
                  <a:pt x="1434" y="211"/>
                </a:cubicBezTo>
                <a:cubicBezTo>
                  <a:pt x="1421" y="206"/>
                  <a:pt x="1426" y="199"/>
                  <a:pt x="1432" y="196"/>
                </a:cubicBezTo>
                <a:cubicBezTo>
                  <a:pt x="1440" y="192"/>
                  <a:pt x="1442" y="186"/>
                  <a:pt x="1437" y="181"/>
                </a:cubicBezTo>
                <a:cubicBezTo>
                  <a:pt x="1430" y="173"/>
                  <a:pt x="1430" y="185"/>
                  <a:pt x="1427" y="187"/>
                </a:cubicBezTo>
                <a:cubicBezTo>
                  <a:pt x="1423" y="189"/>
                  <a:pt x="1418" y="192"/>
                  <a:pt x="1417" y="188"/>
                </a:cubicBezTo>
                <a:cubicBezTo>
                  <a:pt x="1415" y="179"/>
                  <a:pt x="1406" y="178"/>
                  <a:pt x="1403" y="170"/>
                </a:cubicBezTo>
                <a:cubicBezTo>
                  <a:pt x="1400" y="161"/>
                  <a:pt x="1396" y="157"/>
                  <a:pt x="1408" y="151"/>
                </a:cubicBezTo>
                <a:cubicBezTo>
                  <a:pt x="1421" y="143"/>
                  <a:pt x="1420" y="135"/>
                  <a:pt x="1408" y="128"/>
                </a:cubicBezTo>
                <a:cubicBezTo>
                  <a:pt x="1394" y="121"/>
                  <a:pt x="1383" y="121"/>
                  <a:pt x="1372" y="133"/>
                </a:cubicBezTo>
                <a:cubicBezTo>
                  <a:pt x="1369" y="137"/>
                  <a:pt x="1364" y="141"/>
                  <a:pt x="1357" y="136"/>
                </a:cubicBezTo>
                <a:cubicBezTo>
                  <a:pt x="1362" y="133"/>
                  <a:pt x="1372" y="135"/>
                  <a:pt x="1367" y="126"/>
                </a:cubicBezTo>
                <a:cubicBezTo>
                  <a:pt x="1364" y="121"/>
                  <a:pt x="1359" y="118"/>
                  <a:pt x="1353" y="122"/>
                </a:cubicBezTo>
                <a:cubicBezTo>
                  <a:pt x="1350" y="124"/>
                  <a:pt x="1347" y="128"/>
                  <a:pt x="1347" y="132"/>
                </a:cubicBezTo>
                <a:cubicBezTo>
                  <a:pt x="1347" y="137"/>
                  <a:pt x="1345" y="141"/>
                  <a:pt x="1339" y="142"/>
                </a:cubicBezTo>
                <a:cubicBezTo>
                  <a:pt x="1326" y="143"/>
                  <a:pt x="1322" y="158"/>
                  <a:pt x="1311" y="162"/>
                </a:cubicBezTo>
                <a:cubicBezTo>
                  <a:pt x="1309" y="162"/>
                  <a:pt x="1309" y="165"/>
                  <a:pt x="1310" y="167"/>
                </a:cubicBezTo>
                <a:cubicBezTo>
                  <a:pt x="1311" y="170"/>
                  <a:pt x="1313" y="170"/>
                  <a:pt x="1316" y="170"/>
                </a:cubicBezTo>
                <a:cubicBezTo>
                  <a:pt x="1321" y="169"/>
                  <a:pt x="1329" y="168"/>
                  <a:pt x="1330" y="170"/>
                </a:cubicBezTo>
                <a:cubicBezTo>
                  <a:pt x="1340" y="187"/>
                  <a:pt x="1353" y="178"/>
                  <a:pt x="1366" y="174"/>
                </a:cubicBezTo>
                <a:cubicBezTo>
                  <a:pt x="1364" y="182"/>
                  <a:pt x="1361" y="187"/>
                  <a:pt x="1352" y="186"/>
                </a:cubicBezTo>
                <a:cubicBezTo>
                  <a:pt x="1347" y="186"/>
                  <a:pt x="1340" y="185"/>
                  <a:pt x="1338" y="192"/>
                </a:cubicBezTo>
                <a:cubicBezTo>
                  <a:pt x="1335" y="199"/>
                  <a:pt x="1341" y="204"/>
                  <a:pt x="1346" y="208"/>
                </a:cubicBezTo>
                <a:cubicBezTo>
                  <a:pt x="1314" y="197"/>
                  <a:pt x="1344" y="228"/>
                  <a:pt x="1331" y="229"/>
                </a:cubicBezTo>
                <a:cubicBezTo>
                  <a:pt x="1328" y="230"/>
                  <a:pt x="1326" y="211"/>
                  <a:pt x="1321" y="229"/>
                </a:cubicBezTo>
                <a:cubicBezTo>
                  <a:pt x="1320" y="233"/>
                  <a:pt x="1317" y="231"/>
                  <a:pt x="1315" y="231"/>
                </a:cubicBezTo>
                <a:cubicBezTo>
                  <a:pt x="1304" y="228"/>
                  <a:pt x="1294" y="224"/>
                  <a:pt x="1291" y="211"/>
                </a:cubicBezTo>
                <a:cubicBezTo>
                  <a:pt x="1296" y="212"/>
                  <a:pt x="1299" y="213"/>
                  <a:pt x="1302" y="213"/>
                </a:cubicBezTo>
                <a:cubicBezTo>
                  <a:pt x="1307" y="213"/>
                  <a:pt x="1309" y="217"/>
                  <a:pt x="1311" y="219"/>
                </a:cubicBezTo>
                <a:cubicBezTo>
                  <a:pt x="1317" y="223"/>
                  <a:pt x="1319" y="217"/>
                  <a:pt x="1323" y="215"/>
                </a:cubicBezTo>
                <a:cubicBezTo>
                  <a:pt x="1326" y="213"/>
                  <a:pt x="1329" y="211"/>
                  <a:pt x="1328" y="206"/>
                </a:cubicBezTo>
                <a:cubicBezTo>
                  <a:pt x="1326" y="201"/>
                  <a:pt x="1308" y="196"/>
                  <a:pt x="1302" y="198"/>
                </a:cubicBezTo>
                <a:cubicBezTo>
                  <a:pt x="1290" y="200"/>
                  <a:pt x="1281" y="210"/>
                  <a:pt x="1268" y="215"/>
                </a:cubicBezTo>
                <a:cubicBezTo>
                  <a:pt x="1272" y="206"/>
                  <a:pt x="1269" y="201"/>
                  <a:pt x="1262" y="196"/>
                </a:cubicBezTo>
                <a:cubicBezTo>
                  <a:pt x="1259" y="194"/>
                  <a:pt x="1254" y="189"/>
                  <a:pt x="1262" y="186"/>
                </a:cubicBezTo>
                <a:cubicBezTo>
                  <a:pt x="1265" y="184"/>
                  <a:pt x="1270" y="186"/>
                  <a:pt x="1270" y="180"/>
                </a:cubicBezTo>
                <a:cubicBezTo>
                  <a:pt x="1270" y="175"/>
                  <a:pt x="1265" y="174"/>
                  <a:pt x="1261" y="174"/>
                </a:cubicBezTo>
                <a:cubicBezTo>
                  <a:pt x="1256" y="174"/>
                  <a:pt x="1253" y="171"/>
                  <a:pt x="1250" y="168"/>
                </a:cubicBezTo>
                <a:cubicBezTo>
                  <a:pt x="1246" y="164"/>
                  <a:pt x="1243" y="159"/>
                  <a:pt x="1237" y="167"/>
                </a:cubicBezTo>
                <a:cubicBezTo>
                  <a:pt x="1232" y="171"/>
                  <a:pt x="1225" y="167"/>
                  <a:pt x="1221" y="162"/>
                </a:cubicBezTo>
                <a:cubicBezTo>
                  <a:pt x="1217" y="156"/>
                  <a:pt x="1220" y="155"/>
                  <a:pt x="1224" y="152"/>
                </a:cubicBezTo>
                <a:cubicBezTo>
                  <a:pt x="1243" y="139"/>
                  <a:pt x="1244" y="124"/>
                  <a:pt x="1228" y="105"/>
                </a:cubicBezTo>
                <a:cubicBezTo>
                  <a:pt x="1226" y="102"/>
                  <a:pt x="1225" y="101"/>
                  <a:pt x="1227" y="97"/>
                </a:cubicBezTo>
                <a:cubicBezTo>
                  <a:pt x="1230" y="89"/>
                  <a:pt x="1225" y="89"/>
                  <a:pt x="1219" y="90"/>
                </a:cubicBezTo>
                <a:cubicBezTo>
                  <a:pt x="1215" y="90"/>
                  <a:pt x="1212" y="96"/>
                  <a:pt x="1206" y="93"/>
                </a:cubicBezTo>
                <a:cubicBezTo>
                  <a:pt x="1209" y="89"/>
                  <a:pt x="1217" y="87"/>
                  <a:pt x="1213" y="81"/>
                </a:cubicBezTo>
                <a:cubicBezTo>
                  <a:pt x="1208" y="75"/>
                  <a:pt x="1202" y="81"/>
                  <a:pt x="1198" y="84"/>
                </a:cubicBezTo>
                <a:cubicBezTo>
                  <a:pt x="1185" y="90"/>
                  <a:pt x="1182" y="104"/>
                  <a:pt x="1172" y="113"/>
                </a:cubicBezTo>
                <a:cubicBezTo>
                  <a:pt x="1164" y="120"/>
                  <a:pt x="1156" y="129"/>
                  <a:pt x="1169" y="140"/>
                </a:cubicBezTo>
                <a:cubicBezTo>
                  <a:pt x="1170" y="140"/>
                  <a:pt x="1170" y="143"/>
                  <a:pt x="1170" y="144"/>
                </a:cubicBezTo>
                <a:cubicBezTo>
                  <a:pt x="1175" y="160"/>
                  <a:pt x="1169" y="176"/>
                  <a:pt x="1171" y="190"/>
                </a:cubicBezTo>
                <a:cubicBezTo>
                  <a:pt x="1162" y="188"/>
                  <a:pt x="1155" y="172"/>
                  <a:pt x="1147" y="184"/>
                </a:cubicBezTo>
                <a:cubicBezTo>
                  <a:pt x="1136" y="202"/>
                  <a:pt x="1123" y="189"/>
                  <a:pt x="1111" y="194"/>
                </a:cubicBezTo>
                <a:cubicBezTo>
                  <a:pt x="1112" y="192"/>
                  <a:pt x="1112" y="191"/>
                  <a:pt x="1113" y="191"/>
                </a:cubicBezTo>
                <a:cubicBezTo>
                  <a:pt x="1123" y="192"/>
                  <a:pt x="1133" y="187"/>
                  <a:pt x="1138" y="182"/>
                </a:cubicBezTo>
                <a:cubicBezTo>
                  <a:pt x="1142" y="178"/>
                  <a:pt x="1132" y="168"/>
                  <a:pt x="1128" y="161"/>
                </a:cubicBezTo>
                <a:cubicBezTo>
                  <a:pt x="1120" y="148"/>
                  <a:pt x="1113" y="152"/>
                  <a:pt x="1106" y="161"/>
                </a:cubicBezTo>
                <a:cubicBezTo>
                  <a:pt x="1102" y="166"/>
                  <a:pt x="1097" y="172"/>
                  <a:pt x="1091" y="170"/>
                </a:cubicBezTo>
                <a:cubicBezTo>
                  <a:pt x="1079" y="165"/>
                  <a:pt x="1074" y="171"/>
                  <a:pt x="1070" y="185"/>
                </a:cubicBezTo>
                <a:cubicBezTo>
                  <a:pt x="1068" y="171"/>
                  <a:pt x="1056" y="175"/>
                  <a:pt x="1053" y="165"/>
                </a:cubicBezTo>
                <a:cubicBezTo>
                  <a:pt x="1051" y="158"/>
                  <a:pt x="1053" y="146"/>
                  <a:pt x="1041" y="144"/>
                </a:cubicBezTo>
                <a:cubicBezTo>
                  <a:pt x="1038" y="144"/>
                  <a:pt x="1039" y="141"/>
                  <a:pt x="1041" y="139"/>
                </a:cubicBezTo>
                <a:cubicBezTo>
                  <a:pt x="1049" y="134"/>
                  <a:pt x="1043" y="130"/>
                  <a:pt x="1039" y="126"/>
                </a:cubicBezTo>
                <a:cubicBezTo>
                  <a:pt x="1031" y="118"/>
                  <a:pt x="1020" y="119"/>
                  <a:pt x="1010" y="118"/>
                </a:cubicBezTo>
                <a:cubicBezTo>
                  <a:pt x="998" y="117"/>
                  <a:pt x="991" y="110"/>
                  <a:pt x="993" y="102"/>
                </a:cubicBezTo>
                <a:cubicBezTo>
                  <a:pt x="996" y="88"/>
                  <a:pt x="990" y="82"/>
                  <a:pt x="977" y="77"/>
                </a:cubicBezTo>
                <a:cubicBezTo>
                  <a:pt x="987" y="73"/>
                  <a:pt x="991" y="81"/>
                  <a:pt x="997" y="81"/>
                </a:cubicBezTo>
                <a:cubicBezTo>
                  <a:pt x="1000" y="81"/>
                  <a:pt x="1004" y="83"/>
                  <a:pt x="1007" y="79"/>
                </a:cubicBezTo>
                <a:cubicBezTo>
                  <a:pt x="1009" y="76"/>
                  <a:pt x="1006" y="74"/>
                  <a:pt x="1005" y="71"/>
                </a:cubicBezTo>
                <a:cubicBezTo>
                  <a:pt x="1002" y="67"/>
                  <a:pt x="999" y="61"/>
                  <a:pt x="1002" y="57"/>
                </a:cubicBezTo>
                <a:cubicBezTo>
                  <a:pt x="1005" y="53"/>
                  <a:pt x="1008" y="50"/>
                  <a:pt x="1003" y="46"/>
                </a:cubicBezTo>
                <a:cubicBezTo>
                  <a:pt x="999" y="43"/>
                  <a:pt x="994" y="43"/>
                  <a:pt x="989" y="46"/>
                </a:cubicBezTo>
                <a:cubicBezTo>
                  <a:pt x="978" y="53"/>
                  <a:pt x="976" y="66"/>
                  <a:pt x="971" y="77"/>
                </a:cubicBezTo>
                <a:cubicBezTo>
                  <a:pt x="968" y="83"/>
                  <a:pt x="971" y="90"/>
                  <a:pt x="961" y="92"/>
                </a:cubicBezTo>
                <a:cubicBezTo>
                  <a:pt x="951" y="93"/>
                  <a:pt x="944" y="91"/>
                  <a:pt x="941" y="80"/>
                </a:cubicBezTo>
                <a:cubicBezTo>
                  <a:pt x="939" y="73"/>
                  <a:pt x="937" y="67"/>
                  <a:pt x="932" y="61"/>
                </a:cubicBezTo>
                <a:cubicBezTo>
                  <a:pt x="927" y="55"/>
                  <a:pt x="922" y="52"/>
                  <a:pt x="916" y="61"/>
                </a:cubicBezTo>
                <a:cubicBezTo>
                  <a:pt x="915" y="62"/>
                  <a:pt x="916" y="66"/>
                  <a:pt x="913" y="65"/>
                </a:cubicBezTo>
                <a:cubicBezTo>
                  <a:pt x="896" y="63"/>
                  <a:pt x="891" y="79"/>
                  <a:pt x="881" y="87"/>
                </a:cubicBezTo>
                <a:cubicBezTo>
                  <a:pt x="878" y="89"/>
                  <a:pt x="876" y="94"/>
                  <a:pt x="878" y="97"/>
                </a:cubicBezTo>
                <a:cubicBezTo>
                  <a:pt x="889" y="107"/>
                  <a:pt x="880" y="110"/>
                  <a:pt x="872" y="113"/>
                </a:cubicBezTo>
                <a:cubicBezTo>
                  <a:pt x="871" y="114"/>
                  <a:pt x="868" y="116"/>
                  <a:pt x="868" y="117"/>
                </a:cubicBezTo>
                <a:cubicBezTo>
                  <a:pt x="868" y="134"/>
                  <a:pt x="861" y="128"/>
                  <a:pt x="850" y="126"/>
                </a:cubicBezTo>
                <a:cubicBezTo>
                  <a:pt x="835" y="124"/>
                  <a:pt x="831" y="121"/>
                  <a:pt x="839" y="108"/>
                </a:cubicBezTo>
                <a:cubicBezTo>
                  <a:pt x="841" y="103"/>
                  <a:pt x="846" y="98"/>
                  <a:pt x="841" y="94"/>
                </a:cubicBezTo>
                <a:cubicBezTo>
                  <a:pt x="837" y="89"/>
                  <a:pt x="831" y="92"/>
                  <a:pt x="825" y="95"/>
                </a:cubicBezTo>
                <a:cubicBezTo>
                  <a:pt x="812" y="103"/>
                  <a:pt x="811" y="107"/>
                  <a:pt x="821" y="119"/>
                </a:cubicBezTo>
                <a:cubicBezTo>
                  <a:pt x="824" y="123"/>
                  <a:pt x="826" y="127"/>
                  <a:pt x="828" y="132"/>
                </a:cubicBezTo>
                <a:cubicBezTo>
                  <a:pt x="832" y="141"/>
                  <a:pt x="836" y="150"/>
                  <a:pt x="819" y="149"/>
                </a:cubicBezTo>
                <a:cubicBezTo>
                  <a:pt x="814" y="148"/>
                  <a:pt x="808" y="153"/>
                  <a:pt x="806" y="158"/>
                </a:cubicBezTo>
                <a:cubicBezTo>
                  <a:pt x="803" y="164"/>
                  <a:pt x="812" y="163"/>
                  <a:pt x="814" y="166"/>
                </a:cubicBezTo>
                <a:cubicBezTo>
                  <a:pt x="817" y="170"/>
                  <a:pt x="821" y="175"/>
                  <a:pt x="823" y="180"/>
                </a:cubicBezTo>
                <a:cubicBezTo>
                  <a:pt x="828" y="193"/>
                  <a:pt x="836" y="188"/>
                  <a:pt x="844" y="185"/>
                </a:cubicBezTo>
                <a:cubicBezTo>
                  <a:pt x="852" y="181"/>
                  <a:pt x="839" y="170"/>
                  <a:pt x="848" y="169"/>
                </a:cubicBezTo>
                <a:cubicBezTo>
                  <a:pt x="858" y="168"/>
                  <a:pt x="844" y="182"/>
                  <a:pt x="855" y="184"/>
                </a:cubicBezTo>
                <a:cubicBezTo>
                  <a:pt x="863" y="185"/>
                  <a:pt x="868" y="192"/>
                  <a:pt x="877" y="195"/>
                </a:cubicBezTo>
                <a:cubicBezTo>
                  <a:pt x="870" y="202"/>
                  <a:pt x="864" y="207"/>
                  <a:pt x="858" y="212"/>
                </a:cubicBezTo>
                <a:cubicBezTo>
                  <a:pt x="853" y="194"/>
                  <a:pt x="849" y="192"/>
                  <a:pt x="833" y="205"/>
                </a:cubicBezTo>
                <a:cubicBezTo>
                  <a:pt x="827" y="209"/>
                  <a:pt x="829" y="203"/>
                  <a:pt x="827" y="203"/>
                </a:cubicBezTo>
                <a:cubicBezTo>
                  <a:pt x="819" y="199"/>
                  <a:pt x="827" y="184"/>
                  <a:pt x="817" y="186"/>
                </a:cubicBezTo>
                <a:cubicBezTo>
                  <a:pt x="805" y="188"/>
                  <a:pt x="803" y="183"/>
                  <a:pt x="802" y="173"/>
                </a:cubicBezTo>
                <a:cubicBezTo>
                  <a:pt x="801" y="168"/>
                  <a:pt x="796" y="166"/>
                  <a:pt x="791" y="165"/>
                </a:cubicBezTo>
                <a:cubicBezTo>
                  <a:pt x="788" y="164"/>
                  <a:pt x="784" y="167"/>
                  <a:pt x="784" y="170"/>
                </a:cubicBezTo>
                <a:cubicBezTo>
                  <a:pt x="787" y="180"/>
                  <a:pt x="780" y="177"/>
                  <a:pt x="776" y="177"/>
                </a:cubicBezTo>
                <a:cubicBezTo>
                  <a:pt x="773" y="178"/>
                  <a:pt x="768" y="179"/>
                  <a:pt x="771" y="183"/>
                </a:cubicBezTo>
                <a:cubicBezTo>
                  <a:pt x="773" y="188"/>
                  <a:pt x="772" y="190"/>
                  <a:pt x="767" y="189"/>
                </a:cubicBezTo>
                <a:cubicBezTo>
                  <a:pt x="760" y="189"/>
                  <a:pt x="754" y="187"/>
                  <a:pt x="751" y="181"/>
                </a:cubicBezTo>
                <a:cubicBezTo>
                  <a:pt x="749" y="177"/>
                  <a:pt x="748" y="174"/>
                  <a:pt x="754" y="172"/>
                </a:cubicBezTo>
                <a:cubicBezTo>
                  <a:pt x="763" y="170"/>
                  <a:pt x="762" y="165"/>
                  <a:pt x="755" y="161"/>
                </a:cubicBezTo>
                <a:cubicBezTo>
                  <a:pt x="751" y="157"/>
                  <a:pt x="753" y="153"/>
                  <a:pt x="752" y="150"/>
                </a:cubicBezTo>
                <a:cubicBezTo>
                  <a:pt x="745" y="135"/>
                  <a:pt x="754" y="117"/>
                  <a:pt x="744" y="102"/>
                </a:cubicBezTo>
                <a:cubicBezTo>
                  <a:pt x="740" y="104"/>
                  <a:pt x="736" y="106"/>
                  <a:pt x="733" y="110"/>
                </a:cubicBezTo>
                <a:cubicBezTo>
                  <a:pt x="725" y="119"/>
                  <a:pt x="707" y="125"/>
                  <a:pt x="725" y="142"/>
                </a:cubicBezTo>
                <a:cubicBezTo>
                  <a:pt x="729" y="146"/>
                  <a:pt x="725" y="153"/>
                  <a:pt x="723" y="157"/>
                </a:cubicBezTo>
                <a:cubicBezTo>
                  <a:pt x="720" y="162"/>
                  <a:pt x="712" y="161"/>
                  <a:pt x="707" y="162"/>
                </a:cubicBezTo>
                <a:cubicBezTo>
                  <a:pt x="706" y="162"/>
                  <a:pt x="704" y="160"/>
                  <a:pt x="704" y="159"/>
                </a:cubicBezTo>
                <a:cubicBezTo>
                  <a:pt x="704" y="152"/>
                  <a:pt x="708" y="151"/>
                  <a:pt x="713" y="151"/>
                </a:cubicBezTo>
                <a:cubicBezTo>
                  <a:pt x="717" y="151"/>
                  <a:pt x="719" y="148"/>
                  <a:pt x="718" y="144"/>
                </a:cubicBezTo>
                <a:cubicBezTo>
                  <a:pt x="718" y="141"/>
                  <a:pt x="715" y="139"/>
                  <a:pt x="711" y="139"/>
                </a:cubicBezTo>
                <a:cubicBezTo>
                  <a:pt x="703" y="139"/>
                  <a:pt x="696" y="140"/>
                  <a:pt x="689" y="148"/>
                </a:cubicBezTo>
                <a:cubicBezTo>
                  <a:pt x="681" y="158"/>
                  <a:pt x="671" y="170"/>
                  <a:pt x="654" y="158"/>
                </a:cubicBezTo>
                <a:cubicBezTo>
                  <a:pt x="645" y="151"/>
                  <a:pt x="636" y="155"/>
                  <a:pt x="632" y="166"/>
                </a:cubicBezTo>
                <a:cubicBezTo>
                  <a:pt x="628" y="176"/>
                  <a:pt x="631" y="185"/>
                  <a:pt x="643" y="188"/>
                </a:cubicBezTo>
                <a:cubicBezTo>
                  <a:pt x="649" y="190"/>
                  <a:pt x="654" y="192"/>
                  <a:pt x="660" y="194"/>
                </a:cubicBezTo>
                <a:cubicBezTo>
                  <a:pt x="661" y="200"/>
                  <a:pt x="654" y="202"/>
                  <a:pt x="655" y="207"/>
                </a:cubicBezTo>
                <a:cubicBezTo>
                  <a:pt x="657" y="220"/>
                  <a:pt x="647" y="220"/>
                  <a:pt x="641" y="218"/>
                </a:cubicBezTo>
                <a:cubicBezTo>
                  <a:pt x="625" y="214"/>
                  <a:pt x="626" y="222"/>
                  <a:pt x="629" y="232"/>
                </a:cubicBezTo>
                <a:cubicBezTo>
                  <a:pt x="631" y="241"/>
                  <a:pt x="627" y="248"/>
                  <a:pt x="620" y="245"/>
                </a:cubicBezTo>
                <a:cubicBezTo>
                  <a:pt x="611" y="242"/>
                  <a:pt x="602" y="249"/>
                  <a:pt x="594" y="242"/>
                </a:cubicBezTo>
                <a:cubicBezTo>
                  <a:pt x="589" y="238"/>
                  <a:pt x="585" y="243"/>
                  <a:pt x="582" y="246"/>
                </a:cubicBezTo>
                <a:cubicBezTo>
                  <a:pt x="570" y="260"/>
                  <a:pt x="571" y="276"/>
                  <a:pt x="583" y="288"/>
                </a:cubicBezTo>
                <a:cubicBezTo>
                  <a:pt x="584" y="289"/>
                  <a:pt x="584" y="291"/>
                  <a:pt x="584" y="292"/>
                </a:cubicBezTo>
                <a:cubicBezTo>
                  <a:pt x="581" y="300"/>
                  <a:pt x="588" y="310"/>
                  <a:pt x="579" y="317"/>
                </a:cubicBezTo>
                <a:cubicBezTo>
                  <a:pt x="575" y="321"/>
                  <a:pt x="578" y="326"/>
                  <a:pt x="580" y="330"/>
                </a:cubicBezTo>
                <a:cubicBezTo>
                  <a:pt x="590" y="345"/>
                  <a:pt x="602" y="360"/>
                  <a:pt x="580" y="376"/>
                </a:cubicBezTo>
                <a:cubicBezTo>
                  <a:pt x="578" y="377"/>
                  <a:pt x="577" y="381"/>
                  <a:pt x="578" y="384"/>
                </a:cubicBezTo>
                <a:cubicBezTo>
                  <a:pt x="579" y="387"/>
                  <a:pt x="581" y="387"/>
                  <a:pt x="583" y="386"/>
                </a:cubicBezTo>
                <a:cubicBezTo>
                  <a:pt x="588" y="384"/>
                  <a:pt x="593" y="378"/>
                  <a:pt x="596" y="387"/>
                </a:cubicBezTo>
                <a:cubicBezTo>
                  <a:pt x="599" y="394"/>
                  <a:pt x="591" y="395"/>
                  <a:pt x="587" y="397"/>
                </a:cubicBezTo>
                <a:cubicBezTo>
                  <a:pt x="575" y="405"/>
                  <a:pt x="574" y="414"/>
                  <a:pt x="585" y="423"/>
                </a:cubicBezTo>
                <a:cubicBezTo>
                  <a:pt x="589" y="427"/>
                  <a:pt x="589" y="431"/>
                  <a:pt x="588" y="436"/>
                </a:cubicBezTo>
                <a:cubicBezTo>
                  <a:pt x="584" y="453"/>
                  <a:pt x="588" y="470"/>
                  <a:pt x="587" y="487"/>
                </a:cubicBezTo>
                <a:cubicBezTo>
                  <a:pt x="587" y="489"/>
                  <a:pt x="589" y="491"/>
                  <a:pt x="591" y="492"/>
                </a:cubicBezTo>
                <a:cubicBezTo>
                  <a:pt x="592" y="493"/>
                  <a:pt x="593" y="492"/>
                  <a:pt x="594" y="490"/>
                </a:cubicBezTo>
                <a:cubicBezTo>
                  <a:pt x="598" y="475"/>
                  <a:pt x="604" y="488"/>
                  <a:pt x="604" y="490"/>
                </a:cubicBezTo>
                <a:cubicBezTo>
                  <a:pt x="606" y="499"/>
                  <a:pt x="613" y="502"/>
                  <a:pt x="619" y="503"/>
                </a:cubicBezTo>
                <a:cubicBezTo>
                  <a:pt x="637" y="505"/>
                  <a:pt x="654" y="512"/>
                  <a:pt x="658" y="530"/>
                </a:cubicBezTo>
                <a:cubicBezTo>
                  <a:pt x="660" y="541"/>
                  <a:pt x="674" y="551"/>
                  <a:pt x="663" y="564"/>
                </a:cubicBezTo>
                <a:cubicBezTo>
                  <a:pt x="661" y="567"/>
                  <a:pt x="659" y="573"/>
                  <a:pt x="664" y="576"/>
                </a:cubicBezTo>
                <a:cubicBezTo>
                  <a:pt x="668" y="579"/>
                  <a:pt x="671" y="576"/>
                  <a:pt x="674" y="572"/>
                </a:cubicBezTo>
                <a:cubicBezTo>
                  <a:pt x="677" y="569"/>
                  <a:pt x="682" y="568"/>
                  <a:pt x="687" y="568"/>
                </a:cubicBezTo>
                <a:cubicBezTo>
                  <a:pt x="690" y="567"/>
                  <a:pt x="695" y="573"/>
                  <a:pt x="692" y="575"/>
                </a:cubicBezTo>
                <a:cubicBezTo>
                  <a:pt x="675" y="586"/>
                  <a:pt x="696" y="594"/>
                  <a:pt x="693" y="603"/>
                </a:cubicBezTo>
                <a:cubicBezTo>
                  <a:pt x="699" y="598"/>
                  <a:pt x="707" y="596"/>
                  <a:pt x="704" y="586"/>
                </a:cubicBezTo>
                <a:cubicBezTo>
                  <a:pt x="703" y="582"/>
                  <a:pt x="707" y="582"/>
                  <a:pt x="709" y="583"/>
                </a:cubicBezTo>
                <a:cubicBezTo>
                  <a:pt x="718" y="588"/>
                  <a:pt x="707" y="597"/>
                  <a:pt x="712" y="603"/>
                </a:cubicBezTo>
                <a:cubicBezTo>
                  <a:pt x="714" y="606"/>
                  <a:pt x="710" y="611"/>
                  <a:pt x="708" y="610"/>
                </a:cubicBezTo>
                <a:cubicBezTo>
                  <a:pt x="696" y="603"/>
                  <a:pt x="690" y="618"/>
                  <a:pt x="679" y="613"/>
                </a:cubicBezTo>
                <a:cubicBezTo>
                  <a:pt x="680" y="619"/>
                  <a:pt x="683" y="623"/>
                  <a:pt x="687" y="626"/>
                </a:cubicBezTo>
                <a:cubicBezTo>
                  <a:pt x="698" y="637"/>
                  <a:pt x="697" y="639"/>
                  <a:pt x="683" y="646"/>
                </a:cubicBezTo>
                <a:cubicBezTo>
                  <a:pt x="675" y="650"/>
                  <a:pt x="656" y="648"/>
                  <a:pt x="666" y="668"/>
                </a:cubicBezTo>
                <a:cubicBezTo>
                  <a:pt x="667" y="668"/>
                  <a:pt x="665" y="671"/>
                  <a:pt x="664" y="671"/>
                </a:cubicBezTo>
                <a:cubicBezTo>
                  <a:pt x="652" y="677"/>
                  <a:pt x="654" y="684"/>
                  <a:pt x="660" y="693"/>
                </a:cubicBezTo>
                <a:cubicBezTo>
                  <a:pt x="662" y="696"/>
                  <a:pt x="660" y="699"/>
                  <a:pt x="658" y="701"/>
                </a:cubicBezTo>
                <a:cubicBezTo>
                  <a:pt x="656" y="703"/>
                  <a:pt x="653" y="706"/>
                  <a:pt x="651" y="704"/>
                </a:cubicBezTo>
                <a:cubicBezTo>
                  <a:pt x="646" y="699"/>
                  <a:pt x="640" y="694"/>
                  <a:pt x="636" y="688"/>
                </a:cubicBezTo>
                <a:cubicBezTo>
                  <a:pt x="634" y="683"/>
                  <a:pt x="641" y="682"/>
                  <a:pt x="643" y="679"/>
                </a:cubicBezTo>
                <a:cubicBezTo>
                  <a:pt x="647" y="675"/>
                  <a:pt x="649" y="671"/>
                  <a:pt x="644" y="667"/>
                </a:cubicBezTo>
                <a:cubicBezTo>
                  <a:pt x="640" y="663"/>
                  <a:pt x="635" y="654"/>
                  <a:pt x="631" y="660"/>
                </a:cubicBezTo>
                <a:cubicBezTo>
                  <a:pt x="617" y="677"/>
                  <a:pt x="596" y="663"/>
                  <a:pt x="582" y="676"/>
                </a:cubicBezTo>
                <a:cubicBezTo>
                  <a:pt x="583" y="666"/>
                  <a:pt x="584" y="659"/>
                  <a:pt x="576" y="654"/>
                </a:cubicBezTo>
                <a:cubicBezTo>
                  <a:pt x="593" y="641"/>
                  <a:pt x="562" y="620"/>
                  <a:pt x="584" y="608"/>
                </a:cubicBezTo>
                <a:cubicBezTo>
                  <a:pt x="583" y="606"/>
                  <a:pt x="582" y="605"/>
                  <a:pt x="581" y="604"/>
                </a:cubicBezTo>
                <a:cubicBezTo>
                  <a:pt x="573" y="589"/>
                  <a:pt x="565" y="589"/>
                  <a:pt x="553" y="607"/>
                </a:cubicBezTo>
                <a:cubicBezTo>
                  <a:pt x="543" y="597"/>
                  <a:pt x="532" y="590"/>
                  <a:pt x="520" y="588"/>
                </a:cubicBezTo>
                <a:cubicBezTo>
                  <a:pt x="524" y="578"/>
                  <a:pt x="529" y="569"/>
                  <a:pt x="530" y="559"/>
                </a:cubicBezTo>
                <a:cubicBezTo>
                  <a:pt x="531" y="554"/>
                  <a:pt x="525" y="546"/>
                  <a:pt x="518" y="555"/>
                </a:cubicBezTo>
                <a:cubicBezTo>
                  <a:pt x="515" y="559"/>
                  <a:pt x="513" y="557"/>
                  <a:pt x="511" y="556"/>
                </a:cubicBezTo>
                <a:cubicBezTo>
                  <a:pt x="505" y="553"/>
                  <a:pt x="511" y="552"/>
                  <a:pt x="512" y="549"/>
                </a:cubicBezTo>
                <a:cubicBezTo>
                  <a:pt x="513" y="545"/>
                  <a:pt x="518" y="542"/>
                  <a:pt x="514" y="538"/>
                </a:cubicBezTo>
                <a:cubicBezTo>
                  <a:pt x="509" y="532"/>
                  <a:pt x="506" y="528"/>
                  <a:pt x="512" y="520"/>
                </a:cubicBezTo>
                <a:cubicBezTo>
                  <a:pt x="514" y="518"/>
                  <a:pt x="512" y="514"/>
                  <a:pt x="509" y="512"/>
                </a:cubicBezTo>
                <a:cubicBezTo>
                  <a:pt x="503" y="507"/>
                  <a:pt x="499" y="502"/>
                  <a:pt x="508" y="494"/>
                </a:cubicBezTo>
                <a:cubicBezTo>
                  <a:pt x="514" y="489"/>
                  <a:pt x="510" y="484"/>
                  <a:pt x="504" y="484"/>
                </a:cubicBezTo>
                <a:cubicBezTo>
                  <a:pt x="498" y="483"/>
                  <a:pt x="487" y="474"/>
                  <a:pt x="486" y="490"/>
                </a:cubicBezTo>
                <a:cubicBezTo>
                  <a:pt x="486" y="493"/>
                  <a:pt x="482" y="493"/>
                  <a:pt x="479" y="493"/>
                </a:cubicBezTo>
                <a:cubicBezTo>
                  <a:pt x="459" y="495"/>
                  <a:pt x="459" y="494"/>
                  <a:pt x="452" y="471"/>
                </a:cubicBezTo>
                <a:cubicBezTo>
                  <a:pt x="456" y="469"/>
                  <a:pt x="461" y="470"/>
                  <a:pt x="465" y="471"/>
                </a:cubicBezTo>
                <a:cubicBezTo>
                  <a:pt x="468" y="472"/>
                  <a:pt x="473" y="469"/>
                  <a:pt x="471" y="468"/>
                </a:cubicBezTo>
                <a:cubicBezTo>
                  <a:pt x="460" y="456"/>
                  <a:pt x="464" y="442"/>
                  <a:pt x="461" y="429"/>
                </a:cubicBezTo>
                <a:cubicBezTo>
                  <a:pt x="460" y="424"/>
                  <a:pt x="456" y="418"/>
                  <a:pt x="449" y="417"/>
                </a:cubicBezTo>
                <a:cubicBezTo>
                  <a:pt x="446" y="416"/>
                  <a:pt x="443" y="414"/>
                  <a:pt x="443" y="411"/>
                </a:cubicBezTo>
                <a:cubicBezTo>
                  <a:pt x="441" y="389"/>
                  <a:pt x="422" y="394"/>
                  <a:pt x="409" y="390"/>
                </a:cubicBezTo>
                <a:cubicBezTo>
                  <a:pt x="404" y="388"/>
                  <a:pt x="398" y="394"/>
                  <a:pt x="395" y="399"/>
                </a:cubicBezTo>
                <a:cubicBezTo>
                  <a:pt x="392" y="405"/>
                  <a:pt x="400" y="405"/>
                  <a:pt x="402" y="409"/>
                </a:cubicBezTo>
                <a:cubicBezTo>
                  <a:pt x="408" y="416"/>
                  <a:pt x="413" y="424"/>
                  <a:pt x="418" y="432"/>
                </a:cubicBezTo>
                <a:cubicBezTo>
                  <a:pt x="409" y="434"/>
                  <a:pt x="404" y="423"/>
                  <a:pt x="396" y="428"/>
                </a:cubicBezTo>
                <a:cubicBezTo>
                  <a:pt x="391" y="432"/>
                  <a:pt x="392" y="458"/>
                  <a:pt x="398" y="462"/>
                </a:cubicBezTo>
                <a:cubicBezTo>
                  <a:pt x="406" y="466"/>
                  <a:pt x="410" y="473"/>
                  <a:pt x="403" y="480"/>
                </a:cubicBezTo>
                <a:cubicBezTo>
                  <a:pt x="394" y="488"/>
                  <a:pt x="400" y="491"/>
                  <a:pt x="406" y="496"/>
                </a:cubicBezTo>
                <a:cubicBezTo>
                  <a:pt x="423" y="509"/>
                  <a:pt x="422" y="520"/>
                  <a:pt x="405" y="529"/>
                </a:cubicBezTo>
                <a:cubicBezTo>
                  <a:pt x="396" y="534"/>
                  <a:pt x="396" y="537"/>
                  <a:pt x="402" y="546"/>
                </a:cubicBezTo>
                <a:cubicBezTo>
                  <a:pt x="407" y="554"/>
                  <a:pt x="420" y="559"/>
                  <a:pt x="419" y="569"/>
                </a:cubicBezTo>
                <a:cubicBezTo>
                  <a:pt x="419" y="578"/>
                  <a:pt x="421" y="587"/>
                  <a:pt x="422" y="595"/>
                </a:cubicBezTo>
                <a:cubicBezTo>
                  <a:pt x="422" y="602"/>
                  <a:pt x="424" y="609"/>
                  <a:pt x="419" y="613"/>
                </a:cubicBezTo>
                <a:cubicBezTo>
                  <a:pt x="414" y="616"/>
                  <a:pt x="409" y="610"/>
                  <a:pt x="404" y="608"/>
                </a:cubicBezTo>
                <a:cubicBezTo>
                  <a:pt x="395" y="605"/>
                  <a:pt x="397" y="588"/>
                  <a:pt x="383" y="590"/>
                </a:cubicBezTo>
                <a:cubicBezTo>
                  <a:pt x="383" y="590"/>
                  <a:pt x="382" y="589"/>
                  <a:pt x="382" y="588"/>
                </a:cubicBezTo>
                <a:cubicBezTo>
                  <a:pt x="385" y="570"/>
                  <a:pt x="374" y="558"/>
                  <a:pt x="364" y="546"/>
                </a:cubicBezTo>
                <a:cubicBezTo>
                  <a:pt x="362" y="544"/>
                  <a:pt x="356" y="540"/>
                  <a:pt x="361" y="538"/>
                </a:cubicBezTo>
                <a:cubicBezTo>
                  <a:pt x="370" y="533"/>
                  <a:pt x="363" y="528"/>
                  <a:pt x="362" y="523"/>
                </a:cubicBezTo>
                <a:cubicBezTo>
                  <a:pt x="361" y="519"/>
                  <a:pt x="357" y="516"/>
                  <a:pt x="358" y="512"/>
                </a:cubicBezTo>
                <a:cubicBezTo>
                  <a:pt x="360" y="506"/>
                  <a:pt x="363" y="500"/>
                  <a:pt x="355" y="497"/>
                </a:cubicBezTo>
                <a:cubicBezTo>
                  <a:pt x="347" y="493"/>
                  <a:pt x="342" y="498"/>
                  <a:pt x="337" y="503"/>
                </a:cubicBezTo>
                <a:cubicBezTo>
                  <a:pt x="323" y="518"/>
                  <a:pt x="337" y="531"/>
                  <a:pt x="339" y="544"/>
                </a:cubicBezTo>
                <a:cubicBezTo>
                  <a:pt x="341" y="552"/>
                  <a:pt x="345" y="558"/>
                  <a:pt x="356" y="554"/>
                </a:cubicBezTo>
                <a:cubicBezTo>
                  <a:pt x="354" y="556"/>
                  <a:pt x="352" y="557"/>
                  <a:pt x="351" y="557"/>
                </a:cubicBezTo>
                <a:cubicBezTo>
                  <a:pt x="327" y="557"/>
                  <a:pt x="312" y="575"/>
                  <a:pt x="317" y="599"/>
                </a:cubicBezTo>
                <a:cubicBezTo>
                  <a:pt x="319" y="604"/>
                  <a:pt x="320" y="610"/>
                  <a:pt x="321" y="614"/>
                </a:cubicBezTo>
                <a:cubicBezTo>
                  <a:pt x="326" y="624"/>
                  <a:pt x="333" y="633"/>
                  <a:pt x="341" y="640"/>
                </a:cubicBezTo>
                <a:cubicBezTo>
                  <a:pt x="348" y="646"/>
                  <a:pt x="350" y="633"/>
                  <a:pt x="356" y="633"/>
                </a:cubicBezTo>
                <a:cubicBezTo>
                  <a:pt x="360" y="638"/>
                  <a:pt x="354" y="642"/>
                  <a:pt x="355" y="646"/>
                </a:cubicBezTo>
                <a:cubicBezTo>
                  <a:pt x="356" y="651"/>
                  <a:pt x="356" y="655"/>
                  <a:pt x="362" y="655"/>
                </a:cubicBezTo>
                <a:cubicBezTo>
                  <a:pt x="371" y="654"/>
                  <a:pt x="377" y="661"/>
                  <a:pt x="377" y="667"/>
                </a:cubicBezTo>
                <a:cubicBezTo>
                  <a:pt x="377" y="674"/>
                  <a:pt x="367" y="674"/>
                  <a:pt x="360" y="675"/>
                </a:cubicBezTo>
                <a:cubicBezTo>
                  <a:pt x="359" y="676"/>
                  <a:pt x="357" y="674"/>
                  <a:pt x="356" y="674"/>
                </a:cubicBezTo>
                <a:cubicBezTo>
                  <a:pt x="350" y="673"/>
                  <a:pt x="346" y="676"/>
                  <a:pt x="346" y="682"/>
                </a:cubicBezTo>
                <a:cubicBezTo>
                  <a:pt x="346" y="687"/>
                  <a:pt x="347" y="693"/>
                  <a:pt x="354" y="693"/>
                </a:cubicBezTo>
                <a:cubicBezTo>
                  <a:pt x="358" y="693"/>
                  <a:pt x="360" y="691"/>
                  <a:pt x="362" y="697"/>
                </a:cubicBezTo>
                <a:cubicBezTo>
                  <a:pt x="364" y="705"/>
                  <a:pt x="368" y="704"/>
                  <a:pt x="372" y="697"/>
                </a:cubicBezTo>
                <a:cubicBezTo>
                  <a:pt x="375" y="693"/>
                  <a:pt x="380" y="693"/>
                  <a:pt x="380" y="696"/>
                </a:cubicBezTo>
                <a:cubicBezTo>
                  <a:pt x="378" y="708"/>
                  <a:pt x="395" y="719"/>
                  <a:pt x="380" y="731"/>
                </a:cubicBezTo>
                <a:cubicBezTo>
                  <a:pt x="377" y="734"/>
                  <a:pt x="377" y="738"/>
                  <a:pt x="382" y="740"/>
                </a:cubicBezTo>
                <a:cubicBezTo>
                  <a:pt x="396" y="746"/>
                  <a:pt x="405" y="763"/>
                  <a:pt x="424" y="757"/>
                </a:cubicBezTo>
                <a:cubicBezTo>
                  <a:pt x="420" y="782"/>
                  <a:pt x="403" y="765"/>
                  <a:pt x="392" y="770"/>
                </a:cubicBezTo>
                <a:cubicBezTo>
                  <a:pt x="393" y="766"/>
                  <a:pt x="399" y="765"/>
                  <a:pt x="396" y="760"/>
                </a:cubicBezTo>
                <a:cubicBezTo>
                  <a:pt x="393" y="758"/>
                  <a:pt x="390" y="759"/>
                  <a:pt x="387" y="760"/>
                </a:cubicBezTo>
                <a:cubicBezTo>
                  <a:pt x="383" y="761"/>
                  <a:pt x="380" y="763"/>
                  <a:pt x="379" y="767"/>
                </a:cubicBezTo>
                <a:cubicBezTo>
                  <a:pt x="377" y="771"/>
                  <a:pt x="376" y="774"/>
                  <a:pt x="370" y="773"/>
                </a:cubicBezTo>
                <a:cubicBezTo>
                  <a:pt x="363" y="771"/>
                  <a:pt x="367" y="767"/>
                  <a:pt x="366" y="765"/>
                </a:cubicBezTo>
                <a:cubicBezTo>
                  <a:pt x="363" y="759"/>
                  <a:pt x="361" y="750"/>
                  <a:pt x="354" y="752"/>
                </a:cubicBezTo>
                <a:cubicBezTo>
                  <a:pt x="346" y="755"/>
                  <a:pt x="347" y="763"/>
                  <a:pt x="350" y="770"/>
                </a:cubicBezTo>
                <a:cubicBezTo>
                  <a:pt x="351" y="771"/>
                  <a:pt x="353" y="772"/>
                  <a:pt x="350" y="774"/>
                </a:cubicBezTo>
                <a:cubicBezTo>
                  <a:pt x="346" y="773"/>
                  <a:pt x="341" y="769"/>
                  <a:pt x="338" y="774"/>
                </a:cubicBezTo>
                <a:cubicBezTo>
                  <a:pt x="335" y="780"/>
                  <a:pt x="341" y="783"/>
                  <a:pt x="344" y="786"/>
                </a:cubicBezTo>
                <a:cubicBezTo>
                  <a:pt x="347" y="789"/>
                  <a:pt x="349" y="792"/>
                  <a:pt x="354" y="792"/>
                </a:cubicBezTo>
                <a:cubicBezTo>
                  <a:pt x="360" y="792"/>
                  <a:pt x="359" y="796"/>
                  <a:pt x="357" y="799"/>
                </a:cubicBezTo>
                <a:cubicBezTo>
                  <a:pt x="346" y="799"/>
                  <a:pt x="340" y="778"/>
                  <a:pt x="326" y="792"/>
                </a:cubicBezTo>
                <a:cubicBezTo>
                  <a:pt x="321" y="798"/>
                  <a:pt x="321" y="807"/>
                  <a:pt x="327" y="812"/>
                </a:cubicBezTo>
                <a:cubicBezTo>
                  <a:pt x="336" y="821"/>
                  <a:pt x="345" y="819"/>
                  <a:pt x="352" y="805"/>
                </a:cubicBezTo>
                <a:cubicBezTo>
                  <a:pt x="356" y="816"/>
                  <a:pt x="353" y="828"/>
                  <a:pt x="363" y="833"/>
                </a:cubicBezTo>
                <a:cubicBezTo>
                  <a:pt x="372" y="838"/>
                  <a:pt x="370" y="842"/>
                  <a:pt x="363" y="846"/>
                </a:cubicBezTo>
                <a:cubicBezTo>
                  <a:pt x="359" y="849"/>
                  <a:pt x="357" y="853"/>
                  <a:pt x="355" y="856"/>
                </a:cubicBezTo>
                <a:cubicBezTo>
                  <a:pt x="352" y="859"/>
                  <a:pt x="347" y="862"/>
                  <a:pt x="344" y="857"/>
                </a:cubicBezTo>
                <a:cubicBezTo>
                  <a:pt x="335" y="840"/>
                  <a:pt x="328" y="842"/>
                  <a:pt x="320" y="858"/>
                </a:cubicBezTo>
                <a:cubicBezTo>
                  <a:pt x="317" y="864"/>
                  <a:pt x="311" y="862"/>
                  <a:pt x="308" y="862"/>
                </a:cubicBezTo>
                <a:cubicBezTo>
                  <a:pt x="302" y="861"/>
                  <a:pt x="303" y="853"/>
                  <a:pt x="302" y="849"/>
                </a:cubicBezTo>
                <a:cubicBezTo>
                  <a:pt x="300" y="844"/>
                  <a:pt x="306" y="845"/>
                  <a:pt x="309" y="843"/>
                </a:cubicBezTo>
                <a:cubicBezTo>
                  <a:pt x="320" y="837"/>
                  <a:pt x="329" y="842"/>
                  <a:pt x="339" y="845"/>
                </a:cubicBezTo>
                <a:cubicBezTo>
                  <a:pt x="343" y="846"/>
                  <a:pt x="347" y="847"/>
                  <a:pt x="349" y="843"/>
                </a:cubicBezTo>
                <a:cubicBezTo>
                  <a:pt x="351" y="840"/>
                  <a:pt x="349" y="837"/>
                  <a:pt x="347" y="833"/>
                </a:cubicBezTo>
                <a:cubicBezTo>
                  <a:pt x="344" y="830"/>
                  <a:pt x="342" y="825"/>
                  <a:pt x="336" y="826"/>
                </a:cubicBezTo>
                <a:cubicBezTo>
                  <a:pt x="325" y="826"/>
                  <a:pt x="319" y="822"/>
                  <a:pt x="318" y="811"/>
                </a:cubicBezTo>
                <a:cubicBezTo>
                  <a:pt x="318" y="807"/>
                  <a:pt x="315" y="804"/>
                  <a:pt x="311" y="804"/>
                </a:cubicBezTo>
                <a:cubicBezTo>
                  <a:pt x="308" y="804"/>
                  <a:pt x="306" y="805"/>
                  <a:pt x="305" y="808"/>
                </a:cubicBezTo>
                <a:cubicBezTo>
                  <a:pt x="305" y="811"/>
                  <a:pt x="311" y="817"/>
                  <a:pt x="303" y="817"/>
                </a:cubicBezTo>
                <a:cubicBezTo>
                  <a:pt x="297" y="818"/>
                  <a:pt x="299" y="811"/>
                  <a:pt x="298" y="808"/>
                </a:cubicBezTo>
                <a:cubicBezTo>
                  <a:pt x="297" y="804"/>
                  <a:pt x="295" y="800"/>
                  <a:pt x="293" y="796"/>
                </a:cubicBezTo>
                <a:cubicBezTo>
                  <a:pt x="297" y="796"/>
                  <a:pt x="301" y="797"/>
                  <a:pt x="305" y="796"/>
                </a:cubicBezTo>
                <a:cubicBezTo>
                  <a:pt x="309" y="795"/>
                  <a:pt x="317" y="795"/>
                  <a:pt x="316" y="788"/>
                </a:cubicBezTo>
                <a:cubicBezTo>
                  <a:pt x="315" y="783"/>
                  <a:pt x="305" y="781"/>
                  <a:pt x="301" y="783"/>
                </a:cubicBezTo>
                <a:cubicBezTo>
                  <a:pt x="283" y="792"/>
                  <a:pt x="267" y="786"/>
                  <a:pt x="250" y="781"/>
                </a:cubicBezTo>
                <a:cubicBezTo>
                  <a:pt x="240" y="778"/>
                  <a:pt x="231" y="778"/>
                  <a:pt x="239" y="765"/>
                </a:cubicBezTo>
                <a:cubicBezTo>
                  <a:pt x="242" y="760"/>
                  <a:pt x="233" y="758"/>
                  <a:pt x="234" y="753"/>
                </a:cubicBezTo>
                <a:cubicBezTo>
                  <a:pt x="239" y="752"/>
                  <a:pt x="241" y="758"/>
                  <a:pt x="245" y="755"/>
                </a:cubicBezTo>
                <a:cubicBezTo>
                  <a:pt x="248" y="752"/>
                  <a:pt x="245" y="748"/>
                  <a:pt x="244" y="745"/>
                </a:cubicBezTo>
                <a:cubicBezTo>
                  <a:pt x="242" y="742"/>
                  <a:pt x="241" y="739"/>
                  <a:pt x="240" y="737"/>
                </a:cubicBezTo>
                <a:cubicBezTo>
                  <a:pt x="233" y="719"/>
                  <a:pt x="235" y="714"/>
                  <a:pt x="252" y="711"/>
                </a:cubicBezTo>
                <a:cubicBezTo>
                  <a:pt x="259" y="709"/>
                  <a:pt x="263" y="707"/>
                  <a:pt x="261" y="700"/>
                </a:cubicBezTo>
                <a:cubicBezTo>
                  <a:pt x="257" y="686"/>
                  <a:pt x="258" y="673"/>
                  <a:pt x="265" y="661"/>
                </a:cubicBezTo>
                <a:cubicBezTo>
                  <a:pt x="267" y="659"/>
                  <a:pt x="267" y="656"/>
                  <a:pt x="264" y="655"/>
                </a:cubicBezTo>
                <a:cubicBezTo>
                  <a:pt x="251" y="654"/>
                  <a:pt x="248" y="636"/>
                  <a:pt x="233" y="640"/>
                </a:cubicBezTo>
                <a:cubicBezTo>
                  <a:pt x="232" y="640"/>
                  <a:pt x="229" y="631"/>
                  <a:pt x="223" y="637"/>
                </a:cubicBezTo>
                <a:cubicBezTo>
                  <a:pt x="219" y="641"/>
                  <a:pt x="221" y="644"/>
                  <a:pt x="224" y="648"/>
                </a:cubicBezTo>
                <a:cubicBezTo>
                  <a:pt x="230" y="657"/>
                  <a:pt x="230" y="661"/>
                  <a:pt x="217" y="660"/>
                </a:cubicBezTo>
                <a:cubicBezTo>
                  <a:pt x="212" y="660"/>
                  <a:pt x="205" y="661"/>
                  <a:pt x="200" y="664"/>
                </a:cubicBezTo>
                <a:cubicBezTo>
                  <a:pt x="194" y="669"/>
                  <a:pt x="189" y="676"/>
                  <a:pt x="187" y="683"/>
                </a:cubicBezTo>
                <a:cubicBezTo>
                  <a:pt x="186" y="690"/>
                  <a:pt x="197" y="686"/>
                  <a:pt x="200" y="691"/>
                </a:cubicBezTo>
                <a:cubicBezTo>
                  <a:pt x="198" y="693"/>
                  <a:pt x="196" y="693"/>
                  <a:pt x="195" y="695"/>
                </a:cubicBezTo>
                <a:cubicBezTo>
                  <a:pt x="189" y="708"/>
                  <a:pt x="189" y="723"/>
                  <a:pt x="177" y="734"/>
                </a:cubicBezTo>
                <a:cubicBezTo>
                  <a:pt x="168" y="743"/>
                  <a:pt x="182" y="760"/>
                  <a:pt x="168" y="770"/>
                </a:cubicBezTo>
                <a:cubicBezTo>
                  <a:pt x="167" y="770"/>
                  <a:pt x="168" y="772"/>
                  <a:pt x="168" y="773"/>
                </a:cubicBezTo>
                <a:cubicBezTo>
                  <a:pt x="168" y="777"/>
                  <a:pt x="170" y="783"/>
                  <a:pt x="165" y="785"/>
                </a:cubicBezTo>
                <a:cubicBezTo>
                  <a:pt x="159" y="788"/>
                  <a:pt x="156" y="782"/>
                  <a:pt x="152" y="779"/>
                </a:cubicBezTo>
                <a:cubicBezTo>
                  <a:pt x="146" y="775"/>
                  <a:pt x="146" y="769"/>
                  <a:pt x="145" y="763"/>
                </a:cubicBezTo>
                <a:cubicBezTo>
                  <a:pt x="145" y="757"/>
                  <a:pt x="149" y="747"/>
                  <a:pt x="141" y="744"/>
                </a:cubicBezTo>
                <a:cubicBezTo>
                  <a:pt x="123" y="740"/>
                  <a:pt x="134" y="734"/>
                  <a:pt x="140" y="730"/>
                </a:cubicBezTo>
                <a:cubicBezTo>
                  <a:pt x="151" y="723"/>
                  <a:pt x="149" y="716"/>
                  <a:pt x="140" y="710"/>
                </a:cubicBezTo>
                <a:cubicBezTo>
                  <a:pt x="127" y="701"/>
                  <a:pt x="120" y="688"/>
                  <a:pt x="116" y="673"/>
                </a:cubicBezTo>
                <a:cubicBezTo>
                  <a:pt x="114" y="669"/>
                  <a:pt x="91" y="660"/>
                  <a:pt x="91" y="663"/>
                </a:cubicBezTo>
                <a:cubicBezTo>
                  <a:pt x="89" y="673"/>
                  <a:pt x="81" y="683"/>
                  <a:pt x="86" y="693"/>
                </a:cubicBezTo>
                <a:cubicBezTo>
                  <a:pt x="90" y="702"/>
                  <a:pt x="98" y="696"/>
                  <a:pt x="104" y="693"/>
                </a:cubicBezTo>
                <a:cubicBezTo>
                  <a:pt x="108" y="691"/>
                  <a:pt x="112" y="692"/>
                  <a:pt x="113" y="696"/>
                </a:cubicBezTo>
                <a:cubicBezTo>
                  <a:pt x="115" y="700"/>
                  <a:pt x="112" y="701"/>
                  <a:pt x="110" y="702"/>
                </a:cubicBezTo>
                <a:cubicBezTo>
                  <a:pt x="93" y="703"/>
                  <a:pt x="83" y="714"/>
                  <a:pt x="73" y="725"/>
                </a:cubicBezTo>
                <a:cubicBezTo>
                  <a:pt x="70" y="728"/>
                  <a:pt x="66" y="730"/>
                  <a:pt x="67" y="734"/>
                </a:cubicBezTo>
                <a:cubicBezTo>
                  <a:pt x="68" y="738"/>
                  <a:pt x="73" y="741"/>
                  <a:pt x="77" y="740"/>
                </a:cubicBezTo>
                <a:cubicBezTo>
                  <a:pt x="92" y="735"/>
                  <a:pt x="92" y="751"/>
                  <a:pt x="97" y="757"/>
                </a:cubicBezTo>
                <a:cubicBezTo>
                  <a:pt x="101" y="762"/>
                  <a:pt x="90" y="764"/>
                  <a:pt x="86" y="766"/>
                </a:cubicBezTo>
                <a:cubicBezTo>
                  <a:pt x="77" y="771"/>
                  <a:pt x="82" y="779"/>
                  <a:pt x="84" y="783"/>
                </a:cubicBezTo>
                <a:cubicBezTo>
                  <a:pt x="88" y="789"/>
                  <a:pt x="92" y="784"/>
                  <a:pt x="94" y="780"/>
                </a:cubicBezTo>
                <a:cubicBezTo>
                  <a:pt x="97" y="775"/>
                  <a:pt x="104" y="778"/>
                  <a:pt x="104" y="770"/>
                </a:cubicBezTo>
                <a:cubicBezTo>
                  <a:pt x="106" y="778"/>
                  <a:pt x="104" y="788"/>
                  <a:pt x="114" y="790"/>
                </a:cubicBezTo>
                <a:cubicBezTo>
                  <a:pt x="117" y="790"/>
                  <a:pt x="123" y="788"/>
                  <a:pt x="121" y="792"/>
                </a:cubicBezTo>
                <a:cubicBezTo>
                  <a:pt x="118" y="799"/>
                  <a:pt x="125" y="806"/>
                  <a:pt x="120" y="812"/>
                </a:cubicBezTo>
                <a:cubicBezTo>
                  <a:pt x="114" y="805"/>
                  <a:pt x="113" y="819"/>
                  <a:pt x="105" y="815"/>
                </a:cubicBezTo>
                <a:cubicBezTo>
                  <a:pt x="86" y="806"/>
                  <a:pt x="86" y="807"/>
                  <a:pt x="86" y="827"/>
                </a:cubicBezTo>
                <a:cubicBezTo>
                  <a:pt x="86" y="831"/>
                  <a:pt x="84" y="835"/>
                  <a:pt x="90" y="837"/>
                </a:cubicBezTo>
                <a:cubicBezTo>
                  <a:pt x="94" y="838"/>
                  <a:pt x="98" y="838"/>
                  <a:pt x="102" y="834"/>
                </a:cubicBezTo>
                <a:cubicBezTo>
                  <a:pt x="104" y="832"/>
                  <a:pt x="105" y="827"/>
                  <a:pt x="111" y="829"/>
                </a:cubicBezTo>
                <a:cubicBezTo>
                  <a:pt x="113" y="839"/>
                  <a:pt x="107" y="844"/>
                  <a:pt x="97" y="843"/>
                </a:cubicBezTo>
                <a:cubicBezTo>
                  <a:pt x="90" y="843"/>
                  <a:pt x="87" y="845"/>
                  <a:pt x="85" y="851"/>
                </a:cubicBezTo>
                <a:cubicBezTo>
                  <a:pt x="83" y="858"/>
                  <a:pt x="87" y="862"/>
                  <a:pt x="92" y="865"/>
                </a:cubicBezTo>
                <a:cubicBezTo>
                  <a:pt x="97" y="867"/>
                  <a:pt x="101" y="868"/>
                  <a:pt x="106" y="869"/>
                </a:cubicBezTo>
                <a:cubicBezTo>
                  <a:pt x="109" y="870"/>
                  <a:pt x="128" y="899"/>
                  <a:pt x="128" y="902"/>
                </a:cubicBezTo>
                <a:cubicBezTo>
                  <a:pt x="128" y="902"/>
                  <a:pt x="127" y="903"/>
                  <a:pt x="127" y="903"/>
                </a:cubicBezTo>
                <a:cubicBezTo>
                  <a:pt x="122" y="913"/>
                  <a:pt x="122" y="913"/>
                  <a:pt x="132" y="916"/>
                </a:cubicBezTo>
                <a:cubicBezTo>
                  <a:pt x="142" y="920"/>
                  <a:pt x="147" y="937"/>
                  <a:pt x="139" y="943"/>
                </a:cubicBezTo>
                <a:cubicBezTo>
                  <a:pt x="131" y="950"/>
                  <a:pt x="129" y="962"/>
                  <a:pt x="132" y="966"/>
                </a:cubicBezTo>
                <a:cubicBezTo>
                  <a:pt x="137" y="974"/>
                  <a:pt x="146" y="986"/>
                  <a:pt x="161" y="977"/>
                </a:cubicBezTo>
                <a:cubicBezTo>
                  <a:pt x="159" y="975"/>
                  <a:pt x="157" y="973"/>
                  <a:pt x="156" y="971"/>
                </a:cubicBezTo>
                <a:cubicBezTo>
                  <a:pt x="153" y="968"/>
                  <a:pt x="153" y="965"/>
                  <a:pt x="157" y="963"/>
                </a:cubicBezTo>
                <a:cubicBezTo>
                  <a:pt x="158" y="962"/>
                  <a:pt x="160" y="960"/>
                  <a:pt x="162" y="960"/>
                </a:cubicBezTo>
                <a:cubicBezTo>
                  <a:pt x="165" y="961"/>
                  <a:pt x="164" y="965"/>
                  <a:pt x="164" y="968"/>
                </a:cubicBezTo>
                <a:cubicBezTo>
                  <a:pt x="165" y="976"/>
                  <a:pt x="167" y="984"/>
                  <a:pt x="159" y="991"/>
                </a:cubicBezTo>
                <a:cubicBezTo>
                  <a:pt x="155" y="995"/>
                  <a:pt x="157" y="1003"/>
                  <a:pt x="163" y="1009"/>
                </a:cubicBezTo>
                <a:cubicBezTo>
                  <a:pt x="170" y="1014"/>
                  <a:pt x="177" y="1021"/>
                  <a:pt x="183" y="1028"/>
                </a:cubicBezTo>
                <a:cubicBezTo>
                  <a:pt x="184" y="1031"/>
                  <a:pt x="185" y="1034"/>
                  <a:pt x="186" y="1037"/>
                </a:cubicBezTo>
                <a:cubicBezTo>
                  <a:pt x="164" y="1010"/>
                  <a:pt x="171" y="1041"/>
                  <a:pt x="160" y="1041"/>
                </a:cubicBezTo>
                <a:cubicBezTo>
                  <a:pt x="153" y="1041"/>
                  <a:pt x="157" y="1050"/>
                  <a:pt x="159" y="1056"/>
                </a:cubicBezTo>
                <a:cubicBezTo>
                  <a:pt x="160" y="1060"/>
                  <a:pt x="166" y="1067"/>
                  <a:pt x="158" y="1069"/>
                </a:cubicBezTo>
                <a:cubicBezTo>
                  <a:pt x="153" y="1070"/>
                  <a:pt x="147" y="1067"/>
                  <a:pt x="148" y="1075"/>
                </a:cubicBezTo>
                <a:cubicBezTo>
                  <a:pt x="148" y="1080"/>
                  <a:pt x="150" y="1086"/>
                  <a:pt x="155" y="1090"/>
                </a:cubicBezTo>
                <a:cubicBezTo>
                  <a:pt x="165" y="1100"/>
                  <a:pt x="178" y="1103"/>
                  <a:pt x="194" y="1107"/>
                </a:cubicBezTo>
                <a:cubicBezTo>
                  <a:pt x="172" y="1114"/>
                  <a:pt x="172" y="1115"/>
                  <a:pt x="179" y="1135"/>
                </a:cubicBezTo>
                <a:cubicBezTo>
                  <a:pt x="180" y="1137"/>
                  <a:pt x="181" y="1140"/>
                  <a:pt x="181" y="1142"/>
                </a:cubicBezTo>
                <a:cubicBezTo>
                  <a:pt x="179" y="1150"/>
                  <a:pt x="183" y="1157"/>
                  <a:pt x="186" y="1163"/>
                </a:cubicBezTo>
                <a:cubicBezTo>
                  <a:pt x="192" y="1173"/>
                  <a:pt x="198" y="1160"/>
                  <a:pt x="205" y="1161"/>
                </a:cubicBezTo>
                <a:cubicBezTo>
                  <a:pt x="207" y="1161"/>
                  <a:pt x="209" y="1160"/>
                  <a:pt x="211" y="1160"/>
                </a:cubicBezTo>
                <a:cubicBezTo>
                  <a:pt x="218" y="1159"/>
                  <a:pt x="225" y="1159"/>
                  <a:pt x="220" y="1170"/>
                </a:cubicBezTo>
                <a:cubicBezTo>
                  <a:pt x="218" y="1174"/>
                  <a:pt x="225" y="1177"/>
                  <a:pt x="217" y="1183"/>
                </a:cubicBezTo>
                <a:cubicBezTo>
                  <a:pt x="220" y="1168"/>
                  <a:pt x="211" y="1171"/>
                  <a:pt x="203" y="1171"/>
                </a:cubicBezTo>
                <a:cubicBezTo>
                  <a:pt x="199" y="1171"/>
                  <a:pt x="195" y="1171"/>
                  <a:pt x="195" y="1176"/>
                </a:cubicBezTo>
                <a:cubicBezTo>
                  <a:pt x="196" y="1185"/>
                  <a:pt x="203" y="1189"/>
                  <a:pt x="210" y="1191"/>
                </a:cubicBezTo>
                <a:cubicBezTo>
                  <a:pt x="217" y="1192"/>
                  <a:pt x="220" y="1196"/>
                  <a:pt x="223" y="1201"/>
                </a:cubicBezTo>
                <a:cubicBezTo>
                  <a:pt x="213" y="1208"/>
                  <a:pt x="202" y="1206"/>
                  <a:pt x="197" y="1199"/>
                </a:cubicBezTo>
                <a:cubicBezTo>
                  <a:pt x="190" y="1188"/>
                  <a:pt x="175" y="1179"/>
                  <a:pt x="177" y="1162"/>
                </a:cubicBezTo>
                <a:cubicBezTo>
                  <a:pt x="178" y="1150"/>
                  <a:pt x="170" y="1144"/>
                  <a:pt x="159" y="1146"/>
                </a:cubicBezTo>
                <a:cubicBezTo>
                  <a:pt x="142" y="1149"/>
                  <a:pt x="128" y="1183"/>
                  <a:pt x="137" y="1199"/>
                </a:cubicBezTo>
                <a:cubicBezTo>
                  <a:pt x="143" y="1210"/>
                  <a:pt x="157" y="1220"/>
                  <a:pt x="150" y="1235"/>
                </a:cubicBezTo>
                <a:cubicBezTo>
                  <a:pt x="146" y="1243"/>
                  <a:pt x="149" y="1247"/>
                  <a:pt x="154" y="1249"/>
                </a:cubicBezTo>
                <a:cubicBezTo>
                  <a:pt x="161" y="1253"/>
                  <a:pt x="161" y="1245"/>
                  <a:pt x="163" y="1242"/>
                </a:cubicBezTo>
                <a:cubicBezTo>
                  <a:pt x="171" y="1231"/>
                  <a:pt x="189" y="1225"/>
                  <a:pt x="194" y="1232"/>
                </a:cubicBezTo>
                <a:cubicBezTo>
                  <a:pt x="200" y="1240"/>
                  <a:pt x="206" y="1243"/>
                  <a:pt x="218" y="1243"/>
                </a:cubicBezTo>
                <a:cubicBezTo>
                  <a:pt x="210" y="1248"/>
                  <a:pt x="204" y="1245"/>
                  <a:pt x="199" y="1248"/>
                </a:cubicBezTo>
                <a:cubicBezTo>
                  <a:pt x="194" y="1251"/>
                  <a:pt x="190" y="1249"/>
                  <a:pt x="190" y="1242"/>
                </a:cubicBezTo>
                <a:cubicBezTo>
                  <a:pt x="191" y="1232"/>
                  <a:pt x="183" y="1233"/>
                  <a:pt x="177" y="1236"/>
                </a:cubicBezTo>
                <a:cubicBezTo>
                  <a:pt x="164" y="1241"/>
                  <a:pt x="162" y="1252"/>
                  <a:pt x="174" y="1261"/>
                </a:cubicBezTo>
                <a:cubicBezTo>
                  <a:pt x="184" y="1269"/>
                  <a:pt x="194" y="1275"/>
                  <a:pt x="196" y="1289"/>
                </a:cubicBezTo>
                <a:cubicBezTo>
                  <a:pt x="196" y="1291"/>
                  <a:pt x="201" y="1295"/>
                  <a:pt x="203" y="1294"/>
                </a:cubicBezTo>
                <a:cubicBezTo>
                  <a:pt x="207" y="1293"/>
                  <a:pt x="211" y="1290"/>
                  <a:pt x="213" y="1287"/>
                </a:cubicBezTo>
                <a:cubicBezTo>
                  <a:pt x="216" y="1283"/>
                  <a:pt x="212" y="1280"/>
                  <a:pt x="209" y="1278"/>
                </a:cubicBezTo>
                <a:cubicBezTo>
                  <a:pt x="206" y="1276"/>
                  <a:pt x="203" y="1275"/>
                  <a:pt x="198" y="1272"/>
                </a:cubicBezTo>
                <a:cubicBezTo>
                  <a:pt x="213" y="1276"/>
                  <a:pt x="224" y="1274"/>
                  <a:pt x="226" y="1257"/>
                </a:cubicBezTo>
                <a:cubicBezTo>
                  <a:pt x="232" y="1264"/>
                  <a:pt x="219" y="1272"/>
                  <a:pt x="228" y="1276"/>
                </a:cubicBezTo>
                <a:cubicBezTo>
                  <a:pt x="235" y="1280"/>
                  <a:pt x="244" y="1280"/>
                  <a:pt x="252" y="1273"/>
                </a:cubicBezTo>
                <a:cubicBezTo>
                  <a:pt x="256" y="1270"/>
                  <a:pt x="261" y="1270"/>
                  <a:pt x="266" y="1272"/>
                </a:cubicBezTo>
                <a:cubicBezTo>
                  <a:pt x="262" y="1280"/>
                  <a:pt x="252" y="1290"/>
                  <a:pt x="273" y="1288"/>
                </a:cubicBezTo>
                <a:cubicBezTo>
                  <a:pt x="285" y="1286"/>
                  <a:pt x="285" y="1304"/>
                  <a:pt x="296" y="1307"/>
                </a:cubicBezTo>
                <a:cubicBezTo>
                  <a:pt x="299" y="1308"/>
                  <a:pt x="287" y="1310"/>
                  <a:pt x="289" y="1316"/>
                </a:cubicBezTo>
                <a:cubicBezTo>
                  <a:pt x="289" y="1317"/>
                  <a:pt x="287" y="1317"/>
                  <a:pt x="286" y="1318"/>
                </a:cubicBezTo>
                <a:cubicBezTo>
                  <a:pt x="284" y="1316"/>
                  <a:pt x="283" y="1313"/>
                  <a:pt x="281" y="1310"/>
                </a:cubicBezTo>
                <a:cubicBezTo>
                  <a:pt x="279" y="1307"/>
                  <a:pt x="275" y="1306"/>
                  <a:pt x="273" y="1308"/>
                </a:cubicBezTo>
                <a:cubicBezTo>
                  <a:pt x="269" y="1311"/>
                  <a:pt x="270" y="1315"/>
                  <a:pt x="273" y="1318"/>
                </a:cubicBezTo>
                <a:cubicBezTo>
                  <a:pt x="291" y="1332"/>
                  <a:pt x="274" y="1332"/>
                  <a:pt x="265" y="1335"/>
                </a:cubicBezTo>
                <a:cubicBezTo>
                  <a:pt x="259" y="1338"/>
                  <a:pt x="250" y="1337"/>
                  <a:pt x="248" y="1346"/>
                </a:cubicBezTo>
                <a:cubicBezTo>
                  <a:pt x="247" y="1354"/>
                  <a:pt x="242" y="1360"/>
                  <a:pt x="237" y="1365"/>
                </a:cubicBezTo>
                <a:cubicBezTo>
                  <a:pt x="227" y="1376"/>
                  <a:pt x="238" y="1378"/>
                  <a:pt x="244" y="1382"/>
                </a:cubicBezTo>
                <a:cubicBezTo>
                  <a:pt x="233" y="1385"/>
                  <a:pt x="233" y="1392"/>
                  <a:pt x="237" y="1400"/>
                </a:cubicBezTo>
                <a:cubicBezTo>
                  <a:pt x="237" y="1401"/>
                  <a:pt x="237" y="1401"/>
                  <a:pt x="238" y="1401"/>
                </a:cubicBezTo>
                <a:cubicBezTo>
                  <a:pt x="262" y="1405"/>
                  <a:pt x="247" y="1424"/>
                  <a:pt x="251" y="1435"/>
                </a:cubicBezTo>
                <a:cubicBezTo>
                  <a:pt x="251" y="1438"/>
                  <a:pt x="245" y="1443"/>
                  <a:pt x="242" y="1447"/>
                </a:cubicBezTo>
                <a:cubicBezTo>
                  <a:pt x="242" y="1447"/>
                  <a:pt x="239" y="1446"/>
                  <a:pt x="238" y="1445"/>
                </a:cubicBezTo>
                <a:cubicBezTo>
                  <a:pt x="236" y="1439"/>
                  <a:pt x="243" y="1438"/>
                  <a:pt x="243" y="1434"/>
                </a:cubicBezTo>
                <a:cubicBezTo>
                  <a:pt x="244" y="1433"/>
                  <a:pt x="243" y="1432"/>
                  <a:pt x="242" y="1431"/>
                </a:cubicBezTo>
                <a:cubicBezTo>
                  <a:pt x="233" y="1431"/>
                  <a:pt x="221" y="1432"/>
                  <a:pt x="227" y="1445"/>
                </a:cubicBezTo>
                <a:cubicBezTo>
                  <a:pt x="234" y="1458"/>
                  <a:pt x="220" y="1460"/>
                  <a:pt x="217" y="1468"/>
                </a:cubicBezTo>
                <a:cubicBezTo>
                  <a:pt x="216" y="1473"/>
                  <a:pt x="209" y="1467"/>
                  <a:pt x="205" y="1467"/>
                </a:cubicBezTo>
                <a:cubicBezTo>
                  <a:pt x="194" y="1467"/>
                  <a:pt x="189" y="1453"/>
                  <a:pt x="179" y="1455"/>
                </a:cubicBezTo>
                <a:cubicBezTo>
                  <a:pt x="167" y="1457"/>
                  <a:pt x="160" y="1453"/>
                  <a:pt x="154" y="1443"/>
                </a:cubicBezTo>
                <a:cubicBezTo>
                  <a:pt x="148" y="1431"/>
                  <a:pt x="139" y="1432"/>
                  <a:pt x="132" y="1444"/>
                </a:cubicBezTo>
                <a:cubicBezTo>
                  <a:pt x="127" y="1453"/>
                  <a:pt x="113" y="1454"/>
                  <a:pt x="113" y="1467"/>
                </a:cubicBezTo>
                <a:cubicBezTo>
                  <a:pt x="113" y="1471"/>
                  <a:pt x="108" y="1468"/>
                  <a:pt x="106" y="1466"/>
                </a:cubicBezTo>
                <a:cubicBezTo>
                  <a:pt x="103" y="1464"/>
                  <a:pt x="101" y="1458"/>
                  <a:pt x="95" y="1462"/>
                </a:cubicBezTo>
                <a:cubicBezTo>
                  <a:pt x="91" y="1465"/>
                  <a:pt x="90" y="1469"/>
                  <a:pt x="90" y="1474"/>
                </a:cubicBezTo>
                <a:cubicBezTo>
                  <a:pt x="89" y="1485"/>
                  <a:pt x="90" y="1496"/>
                  <a:pt x="75" y="1502"/>
                </a:cubicBezTo>
                <a:cubicBezTo>
                  <a:pt x="61" y="1508"/>
                  <a:pt x="56" y="1509"/>
                  <a:pt x="50" y="1494"/>
                </a:cubicBezTo>
                <a:cubicBezTo>
                  <a:pt x="46" y="1486"/>
                  <a:pt x="40" y="1480"/>
                  <a:pt x="30" y="1482"/>
                </a:cubicBezTo>
                <a:cubicBezTo>
                  <a:pt x="25" y="1483"/>
                  <a:pt x="22" y="1484"/>
                  <a:pt x="17" y="1482"/>
                </a:cubicBezTo>
                <a:cubicBezTo>
                  <a:pt x="8" y="1478"/>
                  <a:pt x="0" y="1484"/>
                  <a:pt x="0" y="1491"/>
                </a:cubicBezTo>
                <a:cubicBezTo>
                  <a:pt x="1" y="1507"/>
                  <a:pt x="4" y="1524"/>
                  <a:pt x="7" y="1540"/>
                </a:cubicBezTo>
                <a:cubicBezTo>
                  <a:pt x="7" y="1542"/>
                  <a:pt x="12" y="1544"/>
                  <a:pt x="15" y="1545"/>
                </a:cubicBezTo>
                <a:cubicBezTo>
                  <a:pt x="26" y="1547"/>
                  <a:pt x="31" y="1562"/>
                  <a:pt x="44" y="1558"/>
                </a:cubicBezTo>
                <a:cubicBezTo>
                  <a:pt x="45" y="1558"/>
                  <a:pt x="46" y="1561"/>
                  <a:pt x="47" y="1563"/>
                </a:cubicBezTo>
                <a:cubicBezTo>
                  <a:pt x="45" y="1564"/>
                  <a:pt x="44" y="1564"/>
                  <a:pt x="43" y="1564"/>
                </a:cubicBezTo>
                <a:cubicBezTo>
                  <a:pt x="36" y="1559"/>
                  <a:pt x="25" y="1556"/>
                  <a:pt x="22" y="1563"/>
                </a:cubicBezTo>
                <a:cubicBezTo>
                  <a:pt x="18" y="1573"/>
                  <a:pt x="32" y="1572"/>
                  <a:pt x="37" y="1575"/>
                </a:cubicBezTo>
                <a:cubicBezTo>
                  <a:pt x="44" y="1578"/>
                  <a:pt x="49" y="1583"/>
                  <a:pt x="52" y="1590"/>
                </a:cubicBezTo>
                <a:cubicBezTo>
                  <a:pt x="43" y="1590"/>
                  <a:pt x="40" y="1603"/>
                  <a:pt x="30" y="1599"/>
                </a:cubicBezTo>
                <a:cubicBezTo>
                  <a:pt x="24" y="1597"/>
                  <a:pt x="17" y="1595"/>
                  <a:pt x="15" y="1602"/>
                </a:cubicBezTo>
                <a:cubicBezTo>
                  <a:pt x="12" y="1609"/>
                  <a:pt x="16" y="1615"/>
                  <a:pt x="22" y="1620"/>
                </a:cubicBezTo>
                <a:cubicBezTo>
                  <a:pt x="30" y="1628"/>
                  <a:pt x="41" y="1630"/>
                  <a:pt x="47" y="1639"/>
                </a:cubicBezTo>
                <a:cubicBezTo>
                  <a:pt x="50" y="1642"/>
                  <a:pt x="53" y="1645"/>
                  <a:pt x="57" y="1641"/>
                </a:cubicBezTo>
                <a:cubicBezTo>
                  <a:pt x="60" y="1637"/>
                  <a:pt x="64" y="1633"/>
                  <a:pt x="60" y="1627"/>
                </a:cubicBezTo>
                <a:cubicBezTo>
                  <a:pt x="58" y="1624"/>
                  <a:pt x="53" y="1624"/>
                  <a:pt x="55" y="1617"/>
                </a:cubicBezTo>
                <a:cubicBezTo>
                  <a:pt x="62" y="1625"/>
                  <a:pt x="72" y="1627"/>
                  <a:pt x="75" y="1639"/>
                </a:cubicBezTo>
                <a:cubicBezTo>
                  <a:pt x="79" y="1653"/>
                  <a:pt x="85" y="1663"/>
                  <a:pt x="102" y="1669"/>
                </a:cubicBezTo>
                <a:cubicBezTo>
                  <a:pt x="117" y="1674"/>
                  <a:pt x="118" y="1662"/>
                  <a:pt x="124" y="1659"/>
                </a:cubicBezTo>
                <a:cubicBezTo>
                  <a:pt x="132" y="1654"/>
                  <a:pt x="122" y="1653"/>
                  <a:pt x="119" y="1651"/>
                </a:cubicBezTo>
                <a:cubicBezTo>
                  <a:pt x="117" y="1648"/>
                  <a:pt x="118" y="1648"/>
                  <a:pt x="120" y="1647"/>
                </a:cubicBezTo>
                <a:cubicBezTo>
                  <a:pt x="130" y="1644"/>
                  <a:pt x="125" y="1637"/>
                  <a:pt x="123" y="1632"/>
                </a:cubicBezTo>
                <a:cubicBezTo>
                  <a:pt x="121" y="1626"/>
                  <a:pt x="115" y="1620"/>
                  <a:pt x="115" y="1615"/>
                </a:cubicBezTo>
                <a:cubicBezTo>
                  <a:pt x="116" y="1610"/>
                  <a:pt x="108" y="1602"/>
                  <a:pt x="117" y="1598"/>
                </a:cubicBezTo>
                <a:cubicBezTo>
                  <a:pt x="125" y="1595"/>
                  <a:pt x="130" y="1601"/>
                  <a:pt x="133" y="1607"/>
                </a:cubicBezTo>
                <a:cubicBezTo>
                  <a:pt x="137" y="1613"/>
                  <a:pt x="141" y="1622"/>
                  <a:pt x="148" y="1616"/>
                </a:cubicBezTo>
                <a:cubicBezTo>
                  <a:pt x="155" y="1612"/>
                  <a:pt x="152" y="1604"/>
                  <a:pt x="147" y="1598"/>
                </a:cubicBezTo>
                <a:cubicBezTo>
                  <a:pt x="144" y="1595"/>
                  <a:pt x="139" y="1592"/>
                  <a:pt x="143" y="1588"/>
                </a:cubicBezTo>
                <a:cubicBezTo>
                  <a:pt x="147" y="1584"/>
                  <a:pt x="151" y="1589"/>
                  <a:pt x="154" y="1591"/>
                </a:cubicBezTo>
                <a:cubicBezTo>
                  <a:pt x="172" y="1603"/>
                  <a:pt x="175" y="1623"/>
                  <a:pt x="181" y="1642"/>
                </a:cubicBezTo>
                <a:cubicBezTo>
                  <a:pt x="184" y="1652"/>
                  <a:pt x="187" y="1659"/>
                  <a:pt x="200" y="1654"/>
                </a:cubicBezTo>
                <a:cubicBezTo>
                  <a:pt x="205" y="1653"/>
                  <a:pt x="210" y="1652"/>
                  <a:pt x="214" y="1657"/>
                </a:cubicBezTo>
                <a:cubicBezTo>
                  <a:pt x="217" y="1661"/>
                  <a:pt x="222" y="1659"/>
                  <a:pt x="226" y="1657"/>
                </a:cubicBezTo>
                <a:cubicBezTo>
                  <a:pt x="232" y="1655"/>
                  <a:pt x="225" y="1650"/>
                  <a:pt x="227" y="1647"/>
                </a:cubicBezTo>
                <a:cubicBezTo>
                  <a:pt x="236" y="1651"/>
                  <a:pt x="234" y="1679"/>
                  <a:pt x="252" y="1656"/>
                </a:cubicBezTo>
                <a:cubicBezTo>
                  <a:pt x="263" y="1673"/>
                  <a:pt x="263" y="1669"/>
                  <a:pt x="285" y="1671"/>
                </a:cubicBezTo>
                <a:cubicBezTo>
                  <a:pt x="303" y="1673"/>
                  <a:pt x="311" y="1664"/>
                  <a:pt x="323" y="1655"/>
                </a:cubicBezTo>
                <a:cubicBezTo>
                  <a:pt x="324" y="1668"/>
                  <a:pt x="330" y="1673"/>
                  <a:pt x="342" y="1678"/>
                </a:cubicBezTo>
                <a:cubicBezTo>
                  <a:pt x="357" y="1685"/>
                  <a:pt x="370" y="1679"/>
                  <a:pt x="384" y="1683"/>
                </a:cubicBezTo>
                <a:cubicBezTo>
                  <a:pt x="391" y="1685"/>
                  <a:pt x="401" y="1683"/>
                  <a:pt x="403" y="1670"/>
                </a:cubicBezTo>
                <a:cubicBezTo>
                  <a:pt x="404" y="1663"/>
                  <a:pt x="407" y="1655"/>
                  <a:pt x="409" y="1647"/>
                </a:cubicBezTo>
                <a:cubicBezTo>
                  <a:pt x="417" y="1653"/>
                  <a:pt x="427" y="1655"/>
                  <a:pt x="431" y="1666"/>
                </a:cubicBezTo>
                <a:cubicBezTo>
                  <a:pt x="432" y="1671"/>
                  <a:pt x="437" y="1676"/>
                  <a:pt x="443" y="1675"/>
                </a:cubicBezTo>
                <a:cubicBezTo>
                  <a:pt x="448" y="1674"/>
                  <a:pt x="450" y="1668"/>
                  <a:pt x="450" y="1664"/>
                </a:cubicBezTo>
                <a:cubicBezTo>
                  <a:pt x="450" y="1648"/>
                  <a:pt x="469" y="1650"/>
                  <a:pt x="473" y="1638"/>
                </a:cubicBezTo>
                <a:cubicBezTo>
                  <a:pt x="474" y="1638"/>
                  <a:pt x="477" y="1638"/>
                  <a:pt x="479" y="1639"/>
                </a:cubicBezTo>
                <a:cubicBezTo>
                  <a:pt x="483" y="1640"/>
                  <a:pt x="485" y="1647"/>
                  <a:pt x="489" y="1640"/>
                </a:cubicBezTo>
                <a:cubicBezTo>
                  <a:pt x="493" y="1635"/>
                  <a:pt x="489" y="1632"/>
                  <a:pt x="487" y="1628"/>
                </a:cubicBezTo>
                <a:cubicBezTo>
                  <a:pt x="482" y="1620"/>
                  <a:pt x="476" y="1616"/>
                  <a:pt x="465" y="1619"/>
                </a:cubicBezTo>
                <a:cubicBezTo>
                  <a:pt x="475" y="1606"/>
                  <a:pt x="479" y="1605"/>
                  <a:pt x="489" y="1611"/>
                </a:cubicBezTo>
                <a:cubicBezTo>
                  <a:pt x="497" y="1616"/>
                  <a:pt x="502" y="1614"/>
                  <a:pt x="502" y="1604"/>
                </a:cubicBezTo>
                <a:cubicBezTo>
                  <a:pt x="506" y="1609"/>
                  <a:pt x="509" y="1614"/>
                  <a:pt x="512" y="1619"/>
                </a:cubicBezTo>
                <a:cubicBezTo>
                  <a:pt x="517" y="1625"/>
                  <a:pt x="522" y="1624"/>
                  <a:pt x="524" y="1617"/>
                </a:cubicBezTo>
                <a:cubicBezTo>
                  <a:pt x="528" y="1605"/>
                  <a:pt x="532" y="1606"/>
                  <a:pt x="540" y="1615"/>
                </a:cubicBezTo>
                <a:cubicBezTo>
                  <a:pt x="545" y="1621"/>
                  <a:pt x="554" y="1624"/>
                  <a:pt x="562" y="1613"/>
                </a:cubicBezTo>
                <a:cubicBezTo>
                  <a:pt x="560" y="1621"/>
                  <a:pt x="568" y="1626"/>
                  <a:pt x="562" y="1632"/>
                </a:cubicBezTo>
                <a:cubicBezTo>
                  <a:pt x="555" y="1639"/>
                  <a:pt x="549" y="1632"/>
                  <a:pt x="543" y="1633"/>
                </a:cubicBezTo>
                <a:cubicBezTo>
                  <a:pt x="539" y="1633"/>
                  <a:pt x="536" y="1630"/>
                  <a:pt x="534" y="1627"/>
                </a:cubicBezTo>
                <a:cubicBezTo>
                  <a:pt x="527" y="1621"/>
                  <a:pt x="522" y="1622"/>
                  <a:pt x="522" y="1632"/>
                </a:cubicBezTo>
                <a:cubicBezTo>
                  <a:pt x="522" y="1637"/>
                  <a:pt x="523" y="1644"/>
                  <a:pt x="516" y="1640"/>
                </a:cubicBezTo>
                <a:cubicBezTo>
                  <a:pt x="507" y="1634"/>
                  <a:pt x="503" y="1641"/>
                  <a:pt x="497" y="1644"/>
                </a:cubicBezTo>
                <a:cubicBezTo>
                  <a:pt x="489" y="1648"/>
                  <a:pt x="486" y="1660"/>
                  <a:pt x="475" y="1661"/>
                </a:cubicBezTo>
                <a:cubicBezTo>
                  <a:pt x="472" y="1661"/>
                  <a:pt x="470" y="1664"/>
                  <a:pt x="472" y="1668"/>
                </a:cubicBezTo>
                <a:cubicBezTo>
                  <a:pt x="474" y="1671"/>
                  <a:pt x="476" y="1673"/>
                  <a:pt x="480" y="1670"/>
                </a:cubicBezTo>
                <a:cubicBezTo>
                  <a:pt x="482" y="1669"/>
                  <a:pt x="485" y="1666"/>
                  <a:pt x="490" y="1669"/>
                </a:cubicBezTo>
                <a:cubicBezTo>
                  <a:pt x="485" y="1679"/>
                  <a:pt x="490" y="1684"/>
                  <a:pt x="501" y="1684"/>
                </a:cubicBezTo>
                <a:cubicBezTo>
                  <a:pt x="504" y="1684"/>
                  <a:pt x="505" y="1684"/>
                  <a:pt x="505" y="1688"/>
                </a:cubicBezTo>
                <a:cubicBezTo>
                  <a:pt x="506" y="1699"/>
                  <a:pt x="516" y="1705"/>
                  <a:pt x="521" y="1712"/>
                </a:cubicBezTo>
                <a:cubicBezTo>
                  <a:pt x="523" y="1715"/>
                  <a:pt x="527" y="1722"/>
                  <a:pt x="533" y="1717"/>
                </a:cubicBezTo>
                <a:cubicBezTo>
                  <a:pt x="536" y="1714"/>
                  <a:pt x="535" y="1709"/>
                  <a:pt x="533" y="1704"/>
                </a:cubicBezTo>
                <a:cubicBezTo>
                  <a:pt x="533" y="1703"/>
                  <a:pt x="531" y="1701"/>
                  <a:pt x="531" y="1700"/>
                </a:cubicBezTo>
                <a:cubicBezTo>
                  <a:pt x="528" y="1696"/>
                  <a:pt x="530" y="1694"/>
                  <a:pt x="533" y="1692"/>
                </a:cubicBezTo>
                <a:cubicBezTo>
                  <a:pt x="536" y="1691"/>
                  <a:pt x="537" y="1693"/>
                  <a:pt x="539" y="1695"/>
                </a:cubicBezTo>
                <a:cubicBezTo>
                  <a:pt x="550" y="1706"/>
                  <a:pt x="549" y="1715"/>
                  <a:pt x="540" y="1726"/>
                </a:cubicBezTo>
                <a:cubicBezTo>
                  <a:pt x="532" y="1736"/>
                  <a:pt x="518" y="1744"/>
                  <a:pt x="530" y="1760"/>
                </a:cubicBezTo>
                <a:cubicBezTo>
                  <a:pt x="531" y="1762"/>
                  <a:pt x="529" y="1762"/>
                  <a:pt x="528" y="1763"/>
                </a:cubicBezTo>
                <a:cubicBezTo>
                  <a:pt x="521" y="1771"/>
                  <a:pt x="519" y="1784"/>
                  <a:pt x="527" y="1787"/>
                </a:cubicBezTo>
                <a:cubicBezTo>
                  <a:pt x="539" y="1791"/>
                  <a:pt x="531" y="1804"/>
                  <a:pt x="540" y="1808"/>
                </a:cubicBezTo>
                <a:cubicBezTo>
                  <a:pt x="546" y="1810"/>
                  <a:pt x="549" y="1808"/>
                  <a:pt x="552" y="1803"/>
                </a:cubicBezTo>
                <a:cubicBezTo>
                  <a:pt x="555" y="1797"/>
                  <a:pt x="561" y="1798"/>
                  <a:pt x="567" y="1797"/>
                </a:cubicBezTo>
                <a:cubicBezTo>
                  <a:pt x="565" y="1814"/>
                  <a:pt x="584" y="1806"/>
                  <a:pt x="589" y="1815"/>
                </a:cubicBezTo>
                <a:cubicBezTo>
                  <a:pt x="592" y="1819"/>
                  <a:pt x="595" y="1825"/>
                  <a:pt x="598" y="1825"/>
                </a:cubicBezTo>
                <a:cubicBezTo>
                  <a:pt x="612" y="1826"/>
                  <a:pt x="611" y="1833"/>
                  <a:pt x="607" y="1842"/>
                </a:cubicBezTo>
                <a:cubicBezTo>
                  <a:pt x="604" y="1848"/>
                  <a:pt x="606" y="1854"/>
                  <a:pt x="612" y="1857"/>
                </a:cubicBezTo>
                <a:cubicBezTo>
                  <a:pt x="616" y="1861"/>
                  <a:pt x="619" y="1856"/>
                  <a:pt x="624" y="1854"/>
                </a:cubicBezTo>
                <a:cubicBezTo>
                  <a:pt x="637" y="1849"/>
                  <a:pt x="637" y="1835"/>
                  <a:pt x="643" y="1825"/>
                </a:cubicBezTo>
                <a:cubicBezTo>
                  <a:pt x="645" y="1823"/>
                  <a:pt x="645" y="1818"/>
                  <a:pt x="649" y="1818"/>
                </a:cubicBezTo>
                <a:cubicBezTo>
                  <a:pt x="653" y="1818"/>
                  <a:pt x="654" y="1823"/>
                  <a:pt x="655" y="1826"/>
                </a:cubicBezTo>
                <a:cubicBezTo>
                  <a:pt x="655" y="1835"/>
                  <a:pt x="660" y="1840"/>
                  <a:pt x="668" y="1843"/>
                </a:cubicBezTo>
                <a:cubicBezTo>
                  <a:pt x="674" y="1846"/>
                  <a:pt x="678" y="1847"/>
                  <a:pt x="680" y="1839"/>
                </a:cubicBezTo>
                <a:cubicBezTo>
                  <a:pt x="682" y="1833"/>
                  <a:pt x="684" y="1828"/>
                  <a:pt x="675" y="1826"/>
                </a:cubicBezTo>
                <a:cubicBezTo>
                  <a:pt x="671" y="1825"/>
                  <a:pt x="666" y="1826"/>
                  <a:pt x="664" y="1820"/>
                </a:cubicBezTo>
                <a:cubicBezTo>
                  <a:pt x="683" y="1825"/>
                  <a:pt x="681" y="1816"/>
                  <a:pt x="675" y="1805"/>
                </a:cubicBezTo>
                <a:cubicBezTo>
                  <a:pt x="673" y="1799"/>
                  <a:pt x="671" y="1796"/>
                  <a:pt x="679" y="1794"/>
                </a:cubicBezTo>
                <a:cubicBezTo>
                  <a:pt x="684" y="1792"/>
                  <a:pt x="679" y="1787"/>
                  <a:pt x="681" y="1784"/>
                </a:cubicBezTo>
                <a:cubicBezTo>
                  <a:pt x="687" y="1786"/>
                  <a:pt x="694" y="1794"/>
                  <a:pt x="699" y="1783"/>
                </a:cubicBezTo>
                <a:cubicBezTo>
                  <a:pt x="701" y="1779"/>
                  <a:pt x="703" y="1783"/>
                  <a:pt x="705" y="1782"/>
                </a:cubicBezTo>
                <a:cubicBezTo>
                  <a:pt x="718" y="1780"/>
                  <a:pt x="730" y="1785"/>
                  <a:pt x="741" y="1790"/>
                </a:cubicBezTo>
                <a:cubicBezTo>
                  <a:pt x="752" y="1795"/>
                  <a:pt x="752" y="1794"/>
                  <a:pt x="764" y="1808"/>
                </a:cubicBezTo>
                <a:cubicBezTo>
                  <a:pt x="766" y="1809"/>
                  <a:pt x="768" y="1810"/>
                  <a:pt x="769" y="1812"/>
                </a:cubicBezTo>
                <a:cubicBezTo>
                  <a:pt x="773" y="1824"/>
                  <a:pt x="783" y="1838"/>
                  <a:pt x="775" y="1849"/>
                </a:cubicBezTo>
                <a:cubicBezTo>
                  <a:pt x="767" y="1861"/>
                  <a:pt x="776" y="1870"/>
                  <a:pt x="776" y="1880"/>
                </a:cubicBezTo>
                <a:cubicBezTo>
                  <a:pt x="776" y="1894"/>
                  <a:pt x="784" y="1899"/>
                  <a:pt x="799" y="1896"/>
                </a:cubicBezTo>
                <a:cubicBezTo>
                  <a:pt x="789" y="1900"/>
                  <a:pt x="788" y="1908"/>
                  <a:pt x="789" y="1916"/>
                </a:cubicBezTo>
                <a:cubicBezTo>
                  <a:pt x="789" y="1922"/>
                  <a:pt x="785" y="1923"/>
                  <a:pt x="780" y="1923"/>
                </a:cubicBezTo>
                <a:cubicBezTo>
                  <a:pt x="773" y="1922"/>
                  <a:pt x="776" y="1919"/>
                  <a:pt x="778" y="1915"/>
                </a:cubicBezTo>
                <a:cubicBezTo>
                  <a:pt x="781" y="1910"/>
                  <a:pt x="777" y="1909"/>
                  <a:pt x="773" y="1908"/>
                </a:cubicBezTo>
                <a:cubicBezTo>
                  <a:pt x="767" y="1908"/>
                  <a:pt x="760" y="1909"/>
                  <a:pt x="760" y="1914"/>
                </a:cubicBezTo>
                <a:cubicBezTo>
                  <a:pt x="760" y="1923"/>
                  <a:pt x="749" y="1931"/>
                  <a:pt x="756" y="1941"/>
                </a:cubicBezTo>
                <a:cubicBezTo>
                  <a:pt x="759" y="1944"/>
                  <a:pt x="762" y="1942"/>
                  <a:pt x="765" y="1941"/>
                </a:cubicBezTo>
                <a:cubicBezTo>
                  <a:pt x="775" y="1935"/>
                  <a:pt x="787" y="1936"/>
                  <a:pt x="797" y="1940"/>
                </a:cubicBezTo>
                <a:cubicBezTo>
                  <a:pt x="808" y="1945"/>
                  <a:pt x="812" y="1940"/>
                  <a:pt x="816" y="1932"/>
                </a:cubicBezTo>
                <a:cubicBezTo>
                  <a:pt x="818" y="1928"/>
                  <a:pt x="820" y="1924"/>
                  <a:pt x="823" y="1922"/>
                </a:cubicBezTo>
                <a:cubicBezTo>
                  <a:pt x="832" y="1914"/>
                  <a:pt x="826" y="1906"/>
                  <a:pt x="821" y="1904"/>
                </a:cubicBezTo>
                <a:cubicBezTo>
                  <a:pt x="807" y="1900"/>
                  <a:pt x="808" y="1893"/>
                  <a:pt x="813" y="1884"/>
                </a:cubicBezTo>
                <a:cubicBezTo>
                  <a:pt x="817" y="1884"/>
                  <a:pt x="819" y="1887"/>
                  <a:pt x="819" y="1890"/>
                </a:cubicBezTo>
                <a:cubicBezTo>
                  <a:pt x="821" y="1903"/>
                  <a:pt x="831" y="1907"/>
                  <a:pt x="839" y="1913"/>
                </a:cubicBezTo>
                <a:cubicBezTo>
                  <a:pt x="845" y="1917"/>
                  <a:pt x="851" y="1917"/>
                  <a:pt x="851" y="1907"/>
                </a:cubicBezTo>
                <a:cubicBezTo>
                  <a:pt x="850" y="1903"/>
                  <a:pt x="848" y="1899"/>
                  <a:pt x="855" y="1898"/>
                </a:cubicBezTo>
                <a:cubicBezTo>
                  <a:pt x="860" y="1898"/>
                  <a:pt x="865" y="1900"/>
                  <a:pt x="865" y="1906"/>
                </a:cubicBezTo>
                <a:cubicBezTo>
                  <a:pt x="864" y="1920"/>
                  <a:pt x="873" y="1924"/>
                  <a:pt x="884" y="1924"/>
                </a:cubicBezTo>
                <a:cubicBezTo>
                  <a:pt x="888" y="1924"/>
                  <a:pt x="891" y="1924"/>
                  <a:pt x="891" y="1928"/>
                </a:cubicBezTo>
                <a:cubicBezTo>
                  <a:pt x="891" y="1932"/>
                  <a:pt x="887" y="1934"/>
                  <a:pt x="884" y="1933"/>
                </a:cubicBezTo>
                <a:cubicBezTo>
                  <a:pt x="874" y="1931"/>
                  <a:pt x="867" y="1940"/>
                  <a:pt x="858" y="1941"/>
                </a:cubicBezTo>
                <a:cubicBezTo>
                  <a:pt x="853" y="1942"/>
                  <a:pt x="847" y="1947"/>
                  <a:pt x="851" y="1954"/>
                </a:cubicBezTo>
                <a:cubicBezTo>
                  <a:pt x="858" y="1966"/>
                  <a:pt x="863" y="1979"/>
                  <a:pt x="877" y="1987"/>
                </a:cubicBezTo>
                <a:cubicBezTo>
                  <a:pt x="875" y="1988"/>
                  <a:pt x="874" y="1989"/>
                  <a:pt x="872" y="1990"/>
                </a:cubicBezTo>
                <a:cubicBezTo>
                  <a:pt x="867" y="1991"/>
                  <a:pt x="861" y="1990"/>
                  <a:pt x="862" y="1998"/>
                </a:cubicBezTo>
                <a:cubicBezTo>
                  <a:pt x="864" y="2007"/>
                  <a:pt x="867" y="2015"/>
                  <a:pt x="875" y="2020"/>
                </a:cubicBezTo>
                <a:cubicBezTo>
                  <a:pt x="881" y="2024"/>
                  <a:pt x="882" y="2017"/>
                  <a:pt x="884" y="2013"/>
                </a:cubicBezTo>
                <a:cubicBezTo>
                  <a:pt x="885" y="2009"/>
                  <a:pt x="888" y="2010"/>
                  <a:pt x="891" y="2011"/>
                </a:cubicBezTo>
                <a:cubicBezTo>
                  <a:pt x="897" y="2015"/>
                  <a:pt x="892" y="2026"/>
                  <a:pt x="901" y="2028"/>
                </a:cubicBezTo>
                <a:cubicBezTo>
                  <a:pt x="900" y="2029"/>
                  <a:pt x="898" y="2031"/>
                  <a:pt x="897" y="2032"/>
                </a:cubicBezTo>
                <a:cubicBezTo>
                  <a:pt x="894" y="2033"/>
                  <a:pt x="888" y="2030"/>
                  <a:pt x="890" y="2037"/>
                </a:cubicBezTo>
                <a:cubicBezTo>
                  <a:pt x="891" y="2040"/>
                  <a:pt x="895" y="2042"/>
                  <a:pt x="899" y="2042"/>
                </a:cubicBezTo>
                <a:cubicBezTo>
                  <a:pt x="914" y="2041"/>
                  <a:pt x="926" y="2048"/>
                  <a:pt x="937" y="2056"/>
                </a:cubicBezTo>
                <a:cubicBezTo>
                  <a:pt x="948" y="2065"/>
                  <a:pt x="955" y="2065"/>
                  <a:pt x="960" y="2052"/>
                </a:cubicBezTo>
                <a:cubicBezTo>
                  <a:pt x="965" y="2038"/>
                  <a:pt x="973" y="2030"/>
                  <a:pt x="988" y="2030"/>
                </a:cubicBezTo>
                <a:cubicBezTo>
                  <a:pt x="993" y="2030"/>
                  <a:pt x="997" y="2027"/>
                  <a:pt x="1001" y="2024"/>
                </a:cubicBezTo>
                <a:cubicBezTo>
                  <a:pt x="1012" y="2018"/>
                  <a:pt x="1032" y="2012"/>
                  <a:pt x="1036" y="2020"/>
                </a:cubicBezTo>
                <a:cubicBezTo>
                  <a:pt x="1044" y="2034"/>
                  <a:pt x="1056" y="2042"/>
                  <a:pt x="1065" y="2054"/>
                </a:cubicBezTo>
                <a:cubicBezTo>
                  <a:pt x="1065" y="2055"/>
                  <a:pt x="1065" y="2055"/>
                  <a:pt x="1065" y="2056"/>
                </a:cubicBezTo>
                <a:cubicBezTo>
                  <a:pt x="1062" y="2065"/>
                  <a:pt x="1068" y="2071"/>
                  <a:pt x="1073" y="2077"/>
                </a:cubicBezTo>
                <a:cubicBezTo>
                  <a:pt x="1076" y="2082"/>
                  <a:pt x="1082" y="2087"/>
                  <a:pt x="1083" y="2092"/>
                </a:cubicBezTo>
                <a:cubicBezTo>
                  <a:pt x="1090" y="2117"/>
                  <a:pt x="1094" y="2141"/>
                  <a:pt x="1104" y="2165"/>
                </a:cubicBezTo>
                <a:cubicBezTo>
                  <a:pt x="1111" y="2180"/>
                  <a:pt x="1111" y="2198"/>
                  <a:pt x="1118" y="2213"/>
                </a:cubicBezTo>
                <a:cubicBezTo>
                  <a:pt x="1133" y="2246"/>
                  <a:pt x="1143" y="2282"/>
                  <a:pt x="1165" y="2312"/>
                </a:cubicBezTo>
                <a:cubicBezTo>
                  <a:pt x="1172" y="2322"/>
                  <a:pt x="1178" y="2333"/>
                  <a:pt x="1176" y="2346"/>
                </a:cubicBezTo>
                <a:cubicBezTo>
                  <a:pt x="1173" y="2359"/>
                  <a:pt x="1178" y="2368"/>
                  <a:pt x="1189" y="2377"/>
                </a:cubicBezTo>
                <a:cubicBezTo>
                  <a:pt x="1211" y="2395"/>
                  <a:pt x="1231" y="2416"/>
                  <a:pt x="1239" y="2444"/>
                </a:cubicBezTo>
                <a:cubicBezTo>
                  <a:pt x="1244" y="2462"/>
                  <a:pt x="1252" y="2476"/>
                  <a:pt x="1268" y="2485"/>
                </a:cubicBezTo>
                <a:cubicBezTo>
                  <a:pt x="1289" y="2498"/>
                  <a:pt x="1306" y="2515"/>
                  <a:pt x="1317" y="2537"/>
                </a:cubicBezTo>
                <a:cubicBezTo>
                  <a:pt x="1333" y="2571"/>
                  <a:pt x="1338" y="2607"/>
                  <a:pt x="1337" y="2644"/>
                </a:cubicBezTo>
                <a:cubicBezTo>
                  <a:pt x="1335" y="2697"/>
                  <a:pt x="1331" y="2749"/>
                  <a:pt x="1330" y="2802"/>
                </a:cubicBezTo>
                <a:cubicBezTo>
                  <a:pt x="1329" y="2876"/>
                  <a:pt x="1330" y="2950"/>
                  <a:pt x="1330" y="3023"/>
                </a:cubicBezTo>
                <a:cubicBezTo>
                  <a:pt x="1330" y="3033"/>
                  <a:pt x="1326" y="3044"/>
                  <a:pt x="1329" y="3053"/>
                </a:cubicBezTo>
                <a:cubicBezTo>
                  <a:pt x="1337" y="3076"/>
                  <a:pt x="1328" y="3100"/>
                  <a:pt x="1332" y="3123"/>
                </a:cubicBezTo>
                <a:cubicBezTo>
                  <a:pt x="1335" y="3136"/>
                  <a:pt x="1333" y="3150"/>
                  <a:pt x="1333" y="3163"/>
                </a:cubicBezTo>
                <a:cubicBezTo>
                  <a:pt x="1333" y="3169"/>
                  <a:pt x="1329" y="3177"/>
                  <a:pt x="1323" y="3182"/>
                </a:cubicBezTo>
                <a:cubicBezTo>
                  <a:pt x="1460" y="3182"/>
                  <a:pt x="1460" y="3182"/>
                  <a:pt x="1460" y="3182"/>
                </a:cubicBezTo>
                <a:cubicBezTo>
                  <a:pt x="1447" y="3182"/>
                  <a:pt x="1441" y="3166"/>
                  <a:pt x="1441" y="3153"/>
                </a:cubicBezTo>
                <a:cubicBezTo>
                  <a:pt x="1444" y="3118"/>
                  <a:pt x="1437" y="3095"/>
                  <a:pt x="1437" y="3060"/>
                </a:cubicBezTo>
                <a:cubicBezTo>
                  <a:pt x="1438" y="3011"/>
                  <a:pt x="1432" y="2961"/>
                  <a:pt x="1430" y="2912"/>
                </a:cubicBezTo>
                <a:cubicBezTo>
                  <a:pt x="1429" y="2861"/>
                  <a:pt x="1430" y="2810"/>
                  <a:pt x="1430" y="2759"/>
                </a:cubicBezTo>
                <a:cubicBezTo>
                  <a:pt x="1430" y="2732"/>
                  <a:pt x="1432" y="2706"/>
                  <a:pt x="1435" y="2679"/>
                </a:cubicBezTo>
                <a:cubicBezTo>
                  <a:pt x="1437" y="2662"/>
                  <a:pt x="1441" y="2646"/>
                  <a:pt x="1441" y="2629"/>
                </a:cubicBezTo>
                <a:cubicBezTo>
                  <a:pt x="1440" y="2610"/>
                  <a:pt x="1441" y="2591"/>
                  <a:pt x="1447" y="2573"/>
                </a:cubicBezTo>
                <a:cubicBezTo>
                  <a:pt x="1451" y="2559"/>
                  <a:pt x="1457" y="2541"/>
                  <a:pt x="1477" y="2540"/>
                </a:cubicBezTo>
                <a:cubicBezTo>
                  <a:pt x="1481" y="2539"/>
                  <a:pt x="1482" y="2530"/>
                  <a:pt x="1487" y="2536"/>
                </a:cubicBezTo>
                <a:cubicBezTo>
                  <a:pt x="1489" y="2540"/>
                  <a:pt x="1491" y="2546"/>
                  <a:pt x="1487" y="2550"/>
                </a:cubicBezTo>
                <a:cubicBezTo>
                  <a:pt x="1481" y="2554"/>
                  <a:pt x="1482" y="2559"/>
                  <a:pt x="1487" y="2560"/>
                </a:cubicBezTo>
                <a:cubicBezTo>
                  <a:pt x="1491" y="2561"/>
                  <a:pt x="1499" y="2569"/>
                  <a:pt x="1502" y="2558"/>
                </a:cubicBezTo>
                <a:cubicBezTo>
                  <a:pt x="1504" y="2550"/>
                  <a:pt x="1507" y="2552"/>
                  <a:pt x="1512" y="2554"/>
                </a:cubicBezTo>
                <a:cubicBezTo>
                  <a:pt x="1518" y="2557"/>
                  <a:pt x="1530" y="2558"/>
                  <a:pt x="1529" y="2554"/>
                </a:cubicBezTo>
                <a:cubicBezTo>
                  <a:pt x="1526" y="2543"/>
                  <a:pt x="1536" y="2541"/>
                  <a:pt x="1540" y="2534"/>
                </a:cubicBezTo>
                <a:cubicBezTo>
                  <a:pt x="1536" y="2533"/>
                  <a:pt x="1534" y="2532"/>
                  <a:pt x="1532" y="2531"/>
                </a:cubicBezTo>
                <a:cubicBezTo>
                  <a:pt x="1519" y="2528"/>
                  <a:pt x="1505" y="2530"/>
                  <a:pt x="1497" y="2516"/>
                </a:cubicBezTo>
                <a:cubicBezTo>
                  <a:pt x="1493" y="2510"/>
                  <a:pt x="1484" y="2510"/>
                  <a:pt x="1478" y="2515"/>
                </a:cubicBezTo>
                <a:cubicBezTo>
                  <a:pt x="1472" y="2502"/>
                  <a:pt x="1476" y="2485"/>
                  <a:pt x="1467" y="2474"/>
                </a:cubicBezTo>
                <a:cubicBezTo>
                  <a:pt x="1460" y="2466"/>
                  <a:pt x="1458" y="2459"/>
                  <a:pt x="1458" y="2450"/>
                </a:cubicBezTo>
                <a:cubicBezTo>
                  <a:pt x="1459" y="2442"/>
                  <a:pt x="1458" y="2435"/>
                  <a:pt x="1457" y="2428"/>
                </a:cubicBezTo>
                <a:cubicBezTo>
                  <a:pt x="1453" y="2404"/>
                  <a:pt x="1448" y="2380"/>
                  <a:pt x="1453" y="2357"/>
                </a:cubicBezTo>
                <a:cubicBezTo>
                  <a:pt x="1459" y="2326"/>
                  <a:pt x="1454" y="2295"/>
                  <a:pt x="1462" y="2264"/>
                </a:cubicBezTo>
                <a:cubicBezTo>
                  <a:pt x="1467" y="2242"/>
                  <a:pt x="1463" y="2217"/>
                  <a:pt x="1480" y="2198"/>
                </a:cubicBezTo>
                <a:cubicBezTo>
                  <a:pt x="1485" y="2193"/>
                  <a:pt x="1488" y="2180"/>
                  <a:pt x="1500" y="2190"/>
                </a:cubicBezTo>
                <a:cubicBezTo>
                  <a:pt x="1501" y="2192"/>
                  <a:pt x="1504" y="2190"/>
                  <a:pt x="1505" y="2188"/>
                </a:cubicBezTo>
                <a:cubicBezTo>
                  <a:pt x="1506" y="2177"/>
                  <a:pt x="1519" y="2171"/>
                  <a:pt x="1519" y="2159"/>
                </a:cubicBezTo>
                <a:cubicBezTo>
                  <a:pt x="1518" y="2150"/>
                  <a:pt x="1523" y="2144"/>
                  <a:pt x="1529" y="2138"/>
                </a:cubicBezTo>
                <a:cubicBezTo>
                  <a:pt x="1564" y="2102"/>
                  <a:pt x="1596" y="2062"/>
                  <a:pt x="1633" y="2027"/>
                </a:cubicBezTo>
                <a:cubicBezTo>
                  <a:pt x="1640" y="2021"/>
                  <a:pt x="1641" y="2012"/>
                  <a:pt x="1638" y="2007"/>
                </a:cubicBezTo>
                <a:cubicBezTo>
                  <a:pt x="1629" y="1991"/>
                  <a:pt x="1638" y="1979"/>
                  <a:pt x="1644" y="1966"/>
                </a:cubicBezTo>
                <a:cubicBezTo>
                  <a:pt x="1654" y="1944"/>
                  <a:pt x="1655" y="1944"/>
                  <a:pt x="1678" y="1951"/>
                </a:cubicBezTo>
                <a:cubicBezTo>
                  <a:pt x="1681" y="1952"/>
                  <a:pt x="1685" y="1952"/>
                  <a:pt x="1686" y="1957"/>
                </a:cubicBezTo>
                <a:cubicBezTo>
                  <a:pt x="1686" y="1961"/>
                  <a:pt x="1683" y="1963"/>
                  <a:pt x="1680" y="1965"/>
                </a:cubicBezTo>
                <a:cubicBezTo>
                  <a:pt x="1672" y="1970"/>
                  <a:pt x="1667" y="1976"/>
                  <a:pt x="1674" y="1985"/>
                </a:cubicBezTo>
                <a:cubicBezTo>
                  <a:pt x="1677" y="1990"/>
                  <a:pt x="1676" y="1994"/>
                  <a:pt x="1671" y="1997"/>
                </a:cubicBezTo>
                <a:cubicBezTo>
                  <a:pt x="1664" y="2001"/>
                  <a:pt x="1658" y="2009"/>
                  <a:pt x="1664" y="2015"/>
                </a:cubicBezTo>
                <a:cubicBezTo>
                  <a:pt x="1668" y="2018"/>
                  <a:pt x="1678" y="2027"/>
                  <a:pt x="1688" y="2016"/>
                </a:cubicBezTo>
                <a:cubicBezTo>
                  <a:pt x="1691" y="2012"/>
                  <a:pt x="1701" y="2009"/>
                  <a:pt x="1709" y="2018"/>
                </a:cubicBezTo>
                <a:cubicBezTo>
                  <a:pt x="1714" y="2022"/>
                  <a:pt x="1726" y="2035"/>
                  <a:pt x="1735" y="2017"/>
                </a:cubicBezTo>
                <a:cubicBezTo>
                  <a:pt x="1737" y="2014"/>
                  <a:pt x="1745" y="2010"/>
                  <a:pt x="1746" y="2011"/>
                </a:cubicBezTo>
                <a:cubicBezTo>
                  <a:pt x="1756" y="2017"/>
                  <a:pt x="1763" y="2010"/>
                  <a:pt x="1770" y="2006"/>
                </a:cubicBezTo>
                <a:cubicBezTo>
                  <a:pt x="1772" y="2014"/>
                  <a:pt x="1768" y="2020"/>
                  <a:pt x="1767" y="2026"/>
                </a:cubicBezTo>
                <a:cubicBezTo>
                  <a:pt x="1766" y="2029"/>
                  <a:pt x="1766" y="2033"/>
                  <a:pt x="1769" y="2036"/>
                </a:cubicBezTo>
                <a:cubicBezTo>
                  <a:pt x="1773" y="2039"/>
                  <a:pt x="1776" y="2037"/>
                  <a:pt x="1779" y="2035"/>
                </a:cubicBezTo>
                <a:cubicBezTo>
                  <a:pt x="1788" y="2031"/>
                  <a:pt x="1793" y="2019"/>
                  <a:pt x="1806" y="2026"/>
                </a:cubicBezTo>
                <a:cubicBezTo>
                  <a:pt x="1806" y="2027"/>
                  <a:pt x="1809" y="2024"/>
                  <a:pt x="1811" y="2023"/>
                </a:cubicBezTo>
                <a:cubicBezTo>
                  <a:pt x="1816" y="2020"/>
                  <a:pt x="1819" y="2021"/>
                  <a:pt x="1820" y="2027"/>
                </a:cubicBezTo>
                <a:cubicBezTo>
                  <a:pt x="1821" y="2039"/>
                  <a:pt x="1829" y="2041"/>
                  <a:pt x="1840" y="2042"/>
                </a:cubicBezTo>
                <a:cubicBezTo>
                  <a:pt x="1830" y="2018"/>
                  <a:pt x="1831" y="2016"/>
                  <a:pt x="1850" y="2017"/>
                </a:cubicBezTo>
                <a:cubicBezTo>
                  <a:pt x="1851" y="2024"/>
                  <a:pt x="1835" y="2021"/>
                  <a:pt x="1842" y="2029"/>
                </a:cubicBezTo>
                <a:cubicBezTo>
                  <a:pt x="1848" y="2036"/>
                  <a:pt x="1860" y="2047"/>
                  <a:pt x="1865" y="2041"/>
                </a:cubicBezTo>
                <a:cubicBezTo>
                  <a:pt x="1874" y="2032"/>
                  <a:pt x="1877" y="2037"/>
                  <a:pt x="1884" y="2041"/>
                </a:cubicBezTo>
                <a:cubicBezTo>
                  <a:pt x="1888" y="2043"/>
                  <a:pt x="1892" y="2040"/>
                  <a:pt x="1896" y="2038"/>
                </a:cubicBezTo>
                <a:cubicBezTo>
                  <a:pt x="1899" y="2036"/>
                  <a:pt x="1899" y="2031"/>
                  <a:pt x="1897" y="2029"/>
                </a:cubicBezTo>
                <a:cubicBezTo>
                  <a:pt x="1892" y="2025"/>
                  <a:pt x="1891" y="2022"/>
                  <a:pt x="1890" y="2015"/>
                </a:cubicBezTo>
                <a:cubicBezTo>
                  <a:pt x="1888" y="2002"/>
                  <a:pt x="1880" y="1989"/>
                  <a:pt x="1866" y="1982"/>
                </a:cubicBezTo>
                <a:cubicBezTo>
                  <a:pt x="1864" y="1982"/>
                  <a:pt x="1863" y="1981"/>
                  <a:pt x="1862" y="1981"/>
                </a:cubicBezTo>
                <a:cubicBezTo>
                  <a:pt x="1855" y="1978"/>
                  <a:pt x="1857" y="1973"/>
                  <a:pt x="1857" y="1969"/>
                </a:cubicBezTo>
                <a:cubicBezTo>
                  <a:pt x="1856" y="1962"/>
                  <a:pt x="1862" y="1961"/>
                  <a:pt x="1864" y="1960"/>
                </a:cubicBezTo>
                <a:cubicBezTo>
                  <a:pt x="1871" y="1959"/>
                  <a:pt x="1867" y="1966"/>
                  <a:pt x="1869" y="1969"/>
                </a:cubicBezTo>
                <a:cubicBezTo>
                  <a:pt x="1874" y="1976"/>
                  <a:pt x="1884" y="1978"/>
                  <a:pt x="1888" y="1975"/>
                </a:cubicBezTo>
                <a:cubicBezTo>
                  <a:pt x="1903" y="1965"/>
                  <a:pt x="1909" y="1976"/>
                  <a:pt x="1918" y="1983"/>
                </a:cubicBezTo>
                <a:cubicBezTo>
                  <a:pt x="1921" y="1985"/>
                  <a:pt x="1919" y="1988"/>
                  <a:pt x="1921" y="1991"/>
                </a:cubicBezTo>
                <a:cubicBezTo>
                  <a:pt x="1927" y="1997"/>
                  <a:pt x="1939" y="2000"/>
                  <a:pt x="1940" y="1999"/>
                </a:cubicBezTo>
                <a:cubicBezTo>
                  <a:pt x="1944" y="1987"/>
                  <a:pt x="1949" y="1995"/>
                  <a:pt x="1954" y="1997"/>
                </a:cubicBezTo>
                <a:cubicBezTo>
                  <a:pt x="1956" y="1998"/>
                  <a:pt x="1958" y="2001"/>
                  <a:pt x="1961" y="1999"/>
                </a:cubicBezTo>
                <a:cubicBezTo>
                  <a:pt x="1963" y="1997"/>
                  <a:pt x="1962" y="1994"/>
                  <a:pt x="1962" y="1992"/>
                </a:cubicBezTo>
                <a:cubicBezTo>
                  <a:pt x="1962" y="1988"/>
                  <a:pt x="1956" y="1987"/>
                  <a:pt x="1958" y="1983"/>
                </a:cubicBezTo>
                <a:cubicBezTo>
                  <a:pt x="1961" y="1981"/>
                  <a:pt x="1963" y="1983"/>
                  <a:pt x="1965" y="1985"/>
                </a:cubicBezTo>
                <a:cubicBezTo>
                  <a:pt x="1968" y="1986"/>
                  <a:pt x="1971" y="1987"/>
                  <a:pt x="1974" y="1989"/>
                </a:cubicBezTo>
                <a:cubicBezTo>
                  <a:pt x="1977" y="1990"/>
                  <a:pt x="1980" y="1990"/>
                  <a:pt x="1981" y="1986"/>
                </a:cubicBezTo>
                <a:cubicBezTo>
                  <a:pt x="1985" y="1968"/>
                  <a:pt x="1996" y="1978"/>
                  <a:pt x="2003" y="1981"/>
                </a:cubicBezTo>
                <a:cubicBezTo>
                  <a:pt x="2009" y="1983"/>
                  <a:pt x="2013" y="1987"/>
                  <a:pt x="2018" y="1981"/>
                </a:cubicBezTo>
                <a:cubicBezTo>
                  <a:pt x="2023" y="1973"/>
                  <a:pt x="2015" y="1972"/>
                  <a:pt x="2012" y="1970"/>
                </a:cubicBezTo>
                <a:cubicBezTo>
                  <a:pt x="2008" y="1967"/>
                  <a:pt x="2004" y="1964"/>
                  <a:pt x="2006" y="1960"/>
                </a:cubicBezTo>
                <a:cubicBezTo>
                  <a:pt x="2007" y="1957"/>
                  <a:pt x="2013" y="1954"/>
                  <a:pt x="2014" y="1955"/>
                </a:cubicBezTo>
                <a:cubicBezTo>
                  <a:pt x="2025" y="1965"/>
                  <a:pt x="2039" y="1943"/>
                  <a:pt x="2050" y="1957"/>
                </a:cubicBezTo>
                <a:cubicBezTo>
                  <a:pt x="2052" y="1958"/>
                  <a:pt x="2053" y="1954"/>
                  <a:pt x="2054" y="1953"/>
                </a:cubicBezTo>
                <a:cubicBezTo>
                  <a:pt x="2063" y="1941"/>
                  <a:pt x="2052" y="1934"/>
                  <a:pt x="2045" y="1921"/>
                </a:cubicBezTo>
                <a:cubicBezTo>
                  <a:pt x="2056" y="1932"/>
                  <a:pt x="2062" y="1927"/>
                  <a:pt x="2069" y="1924"/>
                </a:cubicBezTo>
                <a:cubicBezTo>
                  <a:pt x="2069" y="1920"/>
                  <a:pt x="2067" y="1919"/>
                  <a:pt x="2065" y="1918"/>
                </a:cubicBezTo>
                <a:cubicBezTo>
                  <a:pt x="2060" y="1916"/>
                  <a:pt x="2057" y="1912"/>
                  <a:pt x="2058" y="1907"/>
                </a:cubicBezTo>
                <a:cubicBezTo>
                  <a:pt x="2059" y="1902"/>
                  <a:pt x="2065" y="1902"/>
                  <a:pt x="2069" y="1900"/>
                </a:cubicBezTo>
                <a:cubicBezTo>
                  <a:pt x="2077" y="1895"/>
                  <a:pt x="2075" y="1906"/>
                  <a:pt x="2081" y="1907"/>
                </a:cubicBezTo>
                <a:cubicBezTo>
                  <a:pt x="2096" y="1909"/>
                  <a:pt x="2111" y="1915"/>
                  <a:pt x="2125" y="1901"/>
                </a:cubicBezTo>
                <a:cubicBezTo>
                  <a:pt x="2120" y="1911"/>
                  <a:pt x="2124" y="1918"/>
                  <a:pt x="2129" y="1924"/>
                </a:cubicBezTo>
                <a:cubicBezTo>
                  <a:pt x="2134" y="1931"/>
                  <a:pt x="2140" y="1925"/>
                  <a:pt x="2146" y="1923"/>
                </a:cubicBezTo>
                <a:cubicBezTo>
                  <a:pt x="2153" y="1921"/>
                  <a:pt x="2157" y="1921"/>
                  <a:pt x="2166" y="1926"/>
                </a:cubicBezTo>
                <a:cubicBezTo>
                  <a:pt x="2166" y="1927"/>
                  <a:pt x="2167" y="1927"/>
                  <a:pt x="2167" y="1926"/>
                </a:cubicBezTo>
                <a:cubicBezTo>
                  <a:pt x="2177" y="1926"/>
                  <a:pt x="2183" y="1932"/>
                  <a:pt x="2191" y="1939"/>
                </a:cubicBezTo>
                <a:cubicBezTo>
                  <a:pt x="2199" y="1946"/>
                  <a:pt x="2199" y="1950"/>
                  <a:pt x="2194" y="1958"/>
                </a:cubicBezTo>
                <a:cubicBezTo>
                  <a:pt x="2192" y="1962"/>
                  <a:pt x="2193" y="1964"/>
                  <a:pt x="2198" y="1968"/>
                </a:cubicBezTo>
                <a:cubicBezTo>
                  <a:pt x="2211" y="1980"/>
                  <a:pt x="2212" y="1957"/>
                  <a:pt x="2221" y="1962"/>
                </a:cubicBezTo>
                <a:cubicBezTo>
                  <a:pt x="2223" y="1955"/>
                  <a:pt x="2218" y="1951"/>
                  <a:pt x="2217" y="1945"/>
                </a:cubicBezTo>
                <a:cubicBezTo>
                  <a:pt x="2216" y="1942"/>
                  <a:pt x="2206" y="1942"/>
                  <a:pt x="2213" y="1937"/>
                </a:cubicBezTo>
                <a:cubicBezTo>
                  <a:pt x="2217" y="1934"/>
                  <a:pt x="2220" y="1941"/>
                  <a:pt x="2221" y="1944"/>
                </a:cubicBezTo>
                <a:cubicBezTo>
                  <a:pt x="2227" y="1960"/>
                  <a:pt x="2238" y="1954"/>
                  <a:pt x="2247" y="1950"/>
                </a:cubicBezTo>
                <a:cubicBezTo>
                  <a:pt x="2255" y="1945"/>
                  <a:pt x="2267" y="1948"/>
                  <a:pt x="2269" y="1951"/>
                </a:cubicBezTo>
                <a:cubicBezTo>
                  <a:pt x="2274" y="1963"/>
                  <a:pt x="2286" y="1958"/>
                  <a:pt x="2292" y="1965"/>
                </a:cubicBezTo>
                <a:cubicBezTo>
                  <a:pt x="2294" y="1967"/>
                  <a:pt x="2299" y="1965"/>
                  <a:pt x="2298" y="1963"/>
                </a:cubicBezTo>
                <a:cubicBezTo>
                  <a:pt x="2293" y="1950"/>
                  <a:pt x="2313" y="1938"/>
                  <a:pt x="2297" y="1925"/>
                </a:cubicBezTo>
                <a:cubicBezTo>
                  <a:pt x="2309" y="1932"/>
                  <a:pt x="2315" y="1942"/>
                  <a:pt x="2316" y="1955"/>
                </a:cubicBezTo>
                <a:cubicBezTo>
                  <a:pt x="2317" y="1965"/>
                  <a:pt x="2325" y="1978"/>
                  <a:pt x="2329" y="1977"/>
                </a:cubicBezTo>
                <a:cubicBezTo>
                  <a:pt x="2340" y="1971"/>
                  <a:pt x="2346" y="1977"/>
                  <a:pt x="2354" y="1982"/>
                </a:cubicBezTo>
                <a:cubicBezTo>
                  <a:pt x="2358" y="1985"/>
                  <a:pt x="2361" y="1985"/>
                  <a:pt x="2365" y="1981"/>
                </a:cubicBezTo>
                <a:cubicBezTo>
                  <a:pt x="2374" y="1972"/>
                  <a:pt x="2374" y="1945"/>
                  <a:pt x="2364" y="1937"/>
                </a:cubicBezTo>
                <a:cubicBezTo>
                  <a:pt x="2361" y="1934"/>
                  <a:pt x="2357" y="1933"/>
                  <a:pt x="2353" y="1936"/>
                </a:cubicBezTo>
                <a:cubicBezTo>
                  <a:pt x="2349" y="1939"/>
                  <a:pt x="2349" y="1943"/>
                  <a:pt x="2351" y="1947"/>
                </a:cubicBezTo>
                <a:cubicBezTo>
                  <a:pt x="2352" y="1951"/>
                  <a:pt x="2358" y="1952"/>
                  <a:pt x="2357" y="1958"/>
                </a:cubicBezTo>
                <a:cubicBezTo>
                  <a:pt x="2351" y="1958"/>
                  <a:pt x="2351" y="1948"/>
                  <a:pt x="2345" y="1951"/>
                </a:cubicBezTo>
                <a:cubicBezTo>
                  <a:pt x="2329" y="1956"/>
                  <a:pt x="2334" y="1941"/>
                  <a:pt x="2336" y="1939"/>
                </a:cubicBezTo>
                <a:cubicBezTo>
                  <a:pt x="2351" y="1924"/>
                  <a:pt x="2339" y="1921"/>
                  <a:pt x="2329" y="1916"/>
                </a:cubicBezTo>
                <a:cubicBezTo>
                  <a:pt x="2335" y="1918"/>
                  <a:pt x="2341" y="1913"/>
                  <a:pt x="2346" y="1916"/>
                </a:cubicBezTo>
                <a:cubicBezTo>
                  <a:pt x="2350" y="1919"/>
                  <a:pt x="2355" y="1926"/>
                  <a:pt x="2359" y="1918"/>
                </a:cubicBezTo>
                <a:cubicBezTo>
                  <a:pt x="2363" y="1912"/>
                  <a:pt x="2358" y="1906"/>
                  <a:pt x="2352" y="1902"/>
                </a:cubicBezTo>
                <a:cubicBezTo>
                  <a:pt x="2340" y="1895"/>
                  <a:pt x="2326" y="1891"/>
                  <a:pt x="2312" y="1893"/>
                </a:cubicBezTo>
                <a:cubicBezTo>
                  <a:pt x="2309" y="1893"/>
                  <a:pt x="2304" y="1897"/>
                  <a:pt x="2304" y="1893"/>
                </a:cubicBezTo>
                <a:cubicBezTo>
                  <a:pt x="2302" y="1883"/>
                  <a:pt x="2291" y="1879"/>
                  <a:pt x="2289" y="1869"/>
                </a:cubicBezTo>
                <a:cubicBezTo>
                  <a:pt x="2296" y="1875"/>
                  <a:pt x="2307" y="1868"/>
                  <a:pt x="2313" y="1876"/>
                </a:cubicBezTo>
                <a:cubicBezTo>
                  <a:pt x="2322" y="1887"/>
                  <a:pt x="2334" y="1881"/>
                  <a:pt x="2345" y="1880"/>
                </a:cubicBezTo>
                <a:cubicBezTo>
                  <a:pt x="2351" y="1880"/>
                  <a:pt x="2358" y="1870"/>
                  <a:pt x="2346" y="1864"/>
                </a:cubicBezTo>
                <a:cubicBezTo>
                  <a:pt x="2343" y="1862"/>
                  <a:pt x="2340" y="1860"/>
                  <a:pt x="2342" y="1857"/>
                </a:cubicBezTo>
                <a:cubicBezTo>
                  <a:pt x="2345" y="1854"/>
                  <a:pt x="2348" y="1853"/>
                  <a:pt x="2351" y="1856"/>
                </a:cubicBezTo>
                <a:cubicBezTo>
                  <a:pt x="2356" y="1862"/>
                  <a:pt x="2362" y="1861"/>
                  <a:pt x="2369" y="1859"/>
                </a:cubicBezTo>
                <a:cubicBezTo>
                  <a:pt x="2368" y="1853"/>
                  <a:pt x="2362" y="1850"/>
                  <a:pt x="2361" y="1845"/>
                </a:cubicBezTo>
                <a:cubicBezTo>
                  <a:pt x="2359" y="1831"/>
                  <a:pt x="2351" y="1822"/>
                  <a:pt x="2338" y="1818"/>
                </a:cubicBezTo>
                <a:cubicBezTo>
                  <a:pt x="2332" y="1816"/>
                  <a:pt x="2331" y="1812"/>
                  <a:pt x="2328" y="1807"/>
                </a:cubicBezTo>
                <a:cubicBezTo>
                  <a:pt x="2322" y="1799"/>
                  <a:pt x="2324" y="1789"/>
                  <a:pt x="2318" y="1780"/>
                </a:cubicBezTo>
                <a:cubicBezTo>
                  <a:pt x="2314" y="1773"/>
                  <a:pt x="2326" y="1771"/>
                  <a:pt x="2330" y="1766"/>
                </a:cubicBezTo>
                <a:cubicBezTo>
                  <a:pt x="2333" y="1762"/>
                  <a:pt x="2334" y="1764"/>
                  <a:pt x="2336" y="1767"/>
                </a:cubicBezTo>
                <a:cubicBezTo>
                  <a:pt x="2338" y="1771"/>
                  <a:pt x="2341" y="1775"/>
                  <a:pt x="2345" y="1773"/>
                </a:cubicBezTo>
                <a:cubicBezTo>
                  <a:pt x="2349" y="1770"/>
                  <a:pt x="2347" y="1765"/>
                  <a:pt x="2347" y="1761"/>
                </a:cubicBezTo>
                <a:cubicBezTo>
                  <a:pt x="2346" y="1753"/>
                  <a:pt x="2345" y="1745"/>
                  <a:pt x="2334" y="1745"/>
                </a:cubicBezTo>
                <a:cubicBezTo>
                  <a:pt x="2337" y="1739"/>
                  <a:pt x="2343" y="1747"/>
                  <a:pt x="2344" y="1741"/>
                </a:cubicBezTo>
                <a:cubicBezTo>
                  <a:pt x="2346" y="1728"/>
                  <a:pt x="2360" y="1732"/>
                  <a:pt x="2362" y="1734"/>
                </a:cubicBezTo>
                <a:cubicBezTo>
                  <a:pt x="2369" y="1739"/>
                  <a:pt x="2374" y="1746"/>
                  <a:pt x="2384" y="1749"/>
                </a:cubicBezTo>
                <a:cubicBezTo>
                  <a:pt x="2393" y="1751"/>
                  <a:pt x="2399" y="1756"/>
                  <a:pt x="2409" y="1753"/>
                </a:cubicBezTo>
                <a:cubicBezTo>
                  <a:pt x="2420" y="1749"/>
                  <a:pt x="2432" y="1745"/>
                  <a:pt x="2441" y="1758"/>
                </a:cubicBezTo>
                <a:cubicBezTo>
                  <a:pt x="2444" y="1762"/>
                  <a:pt x="2449" y="1763"/>
                  <a:pt x="2451" y="1755"/>
                </a:cubicBezTo>
                <a:cubicBezTo>
                  <a:pt x="2452" y="1750"/>
                  <a:pt x="2457" y="1746"/>
                  <a:pt x="2454" y="1739"/>
                </a:cubicBezTo>
                <a:cubicBezTo>
                  <a:pt x="2468" y="1754"/>
                  <a:pt x="2480" y="1746"/>
                  <a:pt x="2493" y="1739"/>
                </a:cubicBezTo>
                <a:cubicBezTo>
                  <a:pt x="2503" y="1732"/>
                  <a:pt x="2513" y="1721"/>
                  <a:pt x="2528" y="1731"/>
                </a:cubicBezTo>
                <a:cubicBezTo>
                  <a:pt x="2536" y="1736"/>
                  <a:pt x="2548" y="1730"/>
                  <a:pt x="2552" y="1722"/>
                </a:cubicBezTo>
                <a:cubicBezTo>
                  <a:pt x="2557" y="1713"/>
                  <a:pt x="2558" y="1706"/>
                  <a:pt x="2570" y="1707"/>
                </a:cubicBezTo>
                <a:cubicBezTo>
                  <a:pt x="2573" y="1708"/>
                  <a:pt x="2577" y="1703"/>
                  <a:pt x="2581" y="1708"/>
                </a:cubicBezTo>
                <a:cubicBezTo>
                  <a:pt x="2586" y="1713"/>
                  <a:pt x="2592" y="1707"/>
                  <a:pt x="2595" y="1705"/>
                </a:cubicBezTo>
                <a:cubicBezTo>
                  <a:pt x="2599" y="1703"/>
                  <a:pt x="2595" y="1699"/>
                  <a:pt x="2593" y="1696"/>
                </a:cubicBezTo>
                <a:cubicBezTo>
                  <a:pt x="2585" y="1689"/>
                  <a:pt x="2585" y="1677"/>
                  <a:pt x="2577" y="1669"/>
                </a:cubicBezTo>
                <a:cubicBezTo>
                  <a:pt x="2573" y="1667"/>
                  <a:pt x="2569" y="1658"/>
                  <a:pt x="2576" y="1650"/>
                </a:cubicBezTo>
                <a:cubicBezTo>
                  <a:pt x="2577" y="1653"/>
                  <a:pt x="2577" y="1655"/>
                  <a:pt x="2577" y="1656"/>
                </a:cubicBezTo>
                <a:cubicBezTo>
                  <a:pt x="2577" y="1669"/>
                  <a:pt x="2588" y="1670"/>
                  <a:pt x="2596" y="1671"/>
                </a:cubicBezTo>
                <a:cubicBezTo>
                  <a:pt x="2604" y="1671"/>
                  <a:pt x="2602" y="1662"/>
                  <a:pt x="2603" y="1656"/>
                </a:cubicBezTo>
                <a:cubicBezTo>
                  <a:pt x="2604" y="1654"/>
                  <a:pt x="2604" y="1651"/>
                  <a:pt x="2606" y="1649"/>
                </a:cubicBezTo>
                <a:cubicBezTo>
                  <a:pt x="2607" y="1647"/>
                  <a:pt x="2613" y="1646"/>
                  <a:pt x="2612" y="1649"/>
                </a:cubicBezTo>
                <a:cubicBezTo>
                  <a:pt x="2610" y="1671"/>
                  <a:pt x="2619" y="1659"/>
                  <a:pt x="2627" y="1655"/>
                </a:cubicBezTo>
                <a:cubicBezTo>
                  <a:pt x="2634" y="1653"/>
                  <a:pt x="2635" y="1659"/>
                  <a:pt x="2637" y="1663"/>
                </a:cubicBezTo>
                <a:cubicBezTo>
                  <a:pt x="2638" y="1667"/>
                  <a:pt x="2640" y="1669"/>
                  <a:pt x="2644" y="1668"/>
                </a:cubicBezTo>
                <a:cubicBezTo>
                  <a:pt x="2648" y="1668"/>
                  <a:pt x="2649" y="1664"/>
                  <a:pt x="2648" y="1661"/>
                </a:cubicBezTo>
                <a:cubicBezTo>
                  <a:pt x="2643" y="1650"/>
                  <a:pt x="2651" y="1647"/>
                  <a:pt x="2660" y="1641"/>
                </a:cubicBezTo>
                <a:cubicBezTo>
                  <a:pt x="2655" y="1653"/>
                  <a:pt x="2665" y="1650"/>
                  <a:pt x="2670" y="1653"/>
                </a:cubicBezTo>
                <a:cubicBezTo>
                  <a:pt x="2678" y="1657"/>
                  <a:pt x="2687" y="1669"/>
                  <a:pt x="2695" y="1664"/>
                </a:cubicBezTo>
                <a:cubicBezTo>
                  <a:pt x="2704" y="1658"/>
                  <a:pt x="2697" y="1645"/>
                  <a:pt x="2696" y="1634"/>
                </a:cubicBezTo>
                <a:cubicBezTo>
                  <a:pt x="2694" y="1623"/>
                  <a:pt x="2698" y="1633"/>
                  <a:pt x="2701" y="1634"/>
                </a:cubicBezTo>
                <a:cubicBezTo>
                  <a:pt x="2708" y="1636"/>
                  <a:pt x="2715" y="1637"/>
                  <a:pt x="2721" y="1639"/>
                </a:cubicBezTo>
                <a:cubicBezTo>
                  <a:pt x="2725" y="1640"/>
                  <a:pt x="2730" y="1637"/>
                  <a:pt x="2729" y="1636"/>
                </a:cubicBezTo>
                <a:cubicBezTo>
                  <a:pt x="2724" y="1625"/>
                  <a:pt x="2741" y="1610"/>
                  <a:pt x="2722" y="1603"/>
                </a:cubicBezTo>
                <a:cubicBezTo>
                  <a:pt x="2720" y="1602"/>
                  <a:pt x="2717" y="1599"/>
                  <a:pt x="2719" y="1594"/>
                </a:cubicBezTo>
                <a:cubicBezTo>
                  <a:pt x="2727" y="1594"/>
                  <a:pt x="2738" y="1602"/>
                  <a:pt x="2742" y="1589"/>
                </a:cubicBezTo>
                <a:cubicBezTo>
                  <a:pt x="2745" y="1578"/>
                  <a:pt x="2732" y="1578"/>
                  <a:pt x="2727" y="1574"/>
                </a:cubicBezTo>
                <a:close/>
                <a:moveTo>
                  <a:pt x="2644" y="1262"/>
                </a:moveTo>
                <a:cubicBezTo>
                  <a:pt x="2648" y="1262"/>
                  <a:pt x="2652" y="1263"/>
                  <a:pt x="2651" y="1255"/>
                </a:cubicBezTo>
                <a:cubicBezTo>
                  <a:pt x="2649" y="1254"/>
                  <a:pt x="2647" y="1251"/>
                  <a:pt x="2645" y="1248"/>
                </a:cubicBezTo>
                <a:cubicBezTo>
                  <a:pt x="2639" y="1243"/>
                  <a:pt x="2641" y="1237"/>
                  <a:pt x="2645" y="1233"/>
                </a:cubicBezTo>
                <a:cubicBezTo>
                  <a:pt x="2651" y="1227"/>
                  <a:pt x="2652" y="1235"/>
                  <a:pt x="2655" y="1238"/>
                </a:cubicBezTo>
                <a:cubicBezTo>
                  <a:pt x="2665" y="1245"/>
                  <a:pt x="2664" y="1260"/>
                  <a:pt x="2676" y="1266"/>
                </a:cubicBezTo>
                <a:cubicBezTo>
                  <a:pt x="2678" y="1266"/>
                  <a:pt x="2677" y="1269"/>
                  <a:pt x="2676" y="1271"/>
                </a:cubicBezTo>
                <a:cubicBezTo>
                  <a:pt x="2674" y="1273"/>
                  <a:pt x="2671" y="1273"/>
                  <a:pt x="2669" y="1272"/>
                </a:cubicBezTo>
                <a:cubicBezTo>
                  <a:pt x="2662" y="1268"/>
                  <a:pt x="2655" y="1268"/>
                  <a:pt x="2647" y="1270"/>
                </a:cubicBezTo>
                <a:cubicBezTo>
                  <a:pt x="2645" y="1271"/>
                  <a:pt x="2642" y="1275"/>
                  <a:pt x="2642" y="1269"/>
                </a:cubicBezTo>
                <a:cubicBezTo>
                  <a:pt x="2641" y="1266"/>
                  <a:pt x="2638" y="1262"/>
                  <a:pt x="2644" y="1262"/>
                </a:cubicBezTo>
                <a:close/>
                <a:moveTo>
                  <a:pt x="698" y="458"/>
                </a:moveTo>
                <a:cubicBezTo>
                  <a:pt x="688" y="461"/>
                  <a:pt x="681" y="468"/>
                  <a:pt x="672" y="474"/>
                </a:cubicBezTo>
                <a:cubicBezTo>
                  <a:pt x="670" y="467"/>
                  <a:pt x="676" y="463"/>
                  <a:pt x="677" y="458"/>
                </a:cubicBezTo>
                <a:cubicBezTo>
                  <a:pt x="680" y="451"/>
                  <a:pt x="680" y="443"/>
                  <a:pt x="674" y="436"/>
                </a:cubicBezTo>
                <a:cubicBezTo>
                  <a:pt x="670" y="431"/>
                  <a:pt x="665" y="424"/>
                  <a:pt x="673" y="421"/>
                </a:cubicBezTo>
                <a:cubicBezTo>
                  <a:pt x="677" y="419"/>
                  <a:pt x="687" y="421"/>
                  <a:pt x="690" y="428"/>
                </a:cubicBezTo>
                <a:cubicBezTo>
                  <a:pt x="693" y="436"/>
                  <a:pt x="694" y="444"/>
                  <a:pt x="701" y="450"/>
                </a:cubicBezTo>
                <a:cubicBezTo>
                  <a:pt x="706" y="454"/>
                  <a:pt x="702" y="457"/>
                  <a:pt x="698" y="458"/>
                </a:cubicBezTo>
                <a:close/>
                <a:moveTo>
                  <a:pt x="713" y="260"/>
                </a:moveTo>
                <a:cubicBezTo>
                  <a:pt x="712" y="267"/>
                  <a:pt x="710" y="274"/>
                  <a:pt x="710" y="282"/>
                </a:cubicBezTo>
                <a:cubicBezTo>
                  <a:pt x="709" y="288"/>
                  <a:pt x="696" y="293"/>
                  <a:pt x="709" y="300"/>
                </a:cubicBezTo>
                <a:cubicBezTo>
                  <a:pt x="696" y="307"/>
                  <a:pt x="706" y="316"/>
                  <a:pt x="706" y="323"/>
                </a:cubicBezTo>
                <a:cubicBezTo>
                  <a:pt x="706" y="324"/>
                  <a:pt x="704" y="326"/>
                  <a:pt x="703" y="326"/>
                </a:cubicBezTo>
                <a:cubicBezTo>
                  <a:pt x="702" y="326"/>
                  <a:pt x="700" y="325"/>
                  <a:pt x="700" y="323"/>
                </a:cubicBezTo>
                <a:cubicBezTo>
                  <a:pt x="700" y="321"/>
                  <a:pt x="701" y="317"/>
                  <a:pt x="697" y="316"/>
                </a:cubicBezTo>
                <a:cubicBezTo>
                  <a:pt x="692" y="314"/>
                  <a:pt x="692" y="303"/>
                  <a:pt x="683" y="308"/>
                </a:cubicBezTo>
                <a:cubicBezTo>
                  <a:pt x="675" y="312"/>
                  <a:pt x="674" y="318"/>
                  <a:pt x="678" y="326"/>
                </a:cubicBezTo>
                <a:cubicBezTo>
                  <a:pt x="681" y="333"/>
                  <a:pt x="678" y="339"/>
                  <a:pt x="669" y="341"/>
                </a:cubicBezTo>
                <a:cubicBezTo>
                  <a:pt x="663" y="342"/>
                  <a:pt x="659" y="343"/>
                  <a:pt x="652" y="336"/>
                </a:cubicBezTo>
                <a:cubicBezTo>
                  <a:pt x="638" y="323"/>
                  <a:pt x="653" y="307"/>
                  <a:pt x="642" y="296"/>
                </a:cubicBezTo>
                <a:cubicBezTo>
                  <a:pt x="639" y="292"/>
                  <a:pt x="645" y="287"/>
                  <a:pt x="648" y="285"/>
                </a:cubicBezTo>
                <a:cubicBezTo>
                  <a:pt x="653" y="282"/>
                  <a:pt x="654" y="287"/>
                  <a:pt x="656" y="290"/>
                </a:cubicBezTo>
                <a:cubicBezTo>
                  <a:pt x="660" y="295"/>
                  <a:pt x="663" y="300"/>
                  <a:pt x="670" y="298"/>
                </a:cubicBezTo>
                <a:cubicBezTo>
                  <a:pt x="675" y="296"/>
                  <a:pt x="678" y="292"/>
                  <a:pt x="673" y="285"/>
                </a:cubicBezTo>
                <a:cubicBezTo>
                  <a:pt x="682" y="289"/>
                  <a:pt x="687" y="296"/>
                  <a:pt x="697" y="294"/>
                </a:cubicBezTo>
                <a:cubicBezTo>
                  <a:pt x="699" y="287"/>
                  <a:pt x="686" y="284"/>
                  <a:pt x="691" y="277"/>
                </a:cubicBezTo>
                <a:cubicBezTo>
                  <a:pt x="697" y="270"/>
                  <a:pt x="705" y="265"/>
                  <a:pt x="708" y="255"/>
                </a:cubicBezTo>
                <a:cubicBezTo>
                  <a:pt x="708" y="253"/>
                  <a:pt x="713" y="256"/>
                  <a:pt x="713" y="260"/>
                </a:cubicBezTo>
                <a:close/>
                <a:moveTo>
                  <a:pt x="970" y="191"/>
                </a:moveTo>
                <a:cubicBezTo>
                  <a:pt x="974" y="181"/>
                  <a:pt x="985" y="181"/>
                  <a:pt x="989" y="182"/>
                </a:cubicBezTo>
                <a:cubicBezTo>
                  <a:pt x="1007" y="188"/>
                  <a:pt x="997" y="175"/>
                  <a:pt x="999" y="169"/>
                </a:cubicBezTo>
                <a:cubicBezTo>
                  <a:pt x="1011" y="173"/>
                  <a:pt x="1010" y="189"/>
                  <a:pt x="1022" y="195"/>
                </a:cubicBezTo>
                <a:cubicBezTo>
                  <a:pt x="1025" y="196"/>
                  <a:pt x="1016" y="207"/>
                  <a:pt x="1012" y="207"/>
                </a:cubicBezTo>
                <a:cubicBezTo>
                  <a:pt x="1002" y="205"/>
                  <a:pt x="993" y="206"/>
                  <a:pt x="984" y="205"/>
                </a:cubicBezTo>
                <a:cubicBezTo>
                  <a:pt x="980" y="205"/>
                  <a:pt x="965" y="205"/>
                  <a:pt x="970" y="191"/>
                </a:cubicBezTo>
                <a:close/>
                <a:moveTo>
                  <a:pt x="958" y="1793"/>
                </a:moveTo>
                <a:cubicBezTo>
                  <a:pt x="990" y="1798"/>
                  <a:pt x="999" y="1798"/>
                  <a:pt x="1004" y="1829"/>
                </a:cubicBezTo>
                <a:cubicBezTo>
                  <a:pt x="1002" y="1820"/>
                  <a:pt x="995" y="1819"/>
                  <a:pt x="987" y="1819"/>
                </a:cubicBezTo>
                <a:cubicBezTo>
                  <a:pt x="980" y="1819"/>
                  <a:pt x="973" y="1818"/>
                  <a:pt x="965" y="1818"/>
                </a:cubicBezTo>
                <a:cubicBezTo>
                  <a:pt x="962" y="1818"/>
                  <a:pt x="958" y="1814"/>
                  <a:pt x="961" y="1813"/>
                </a:cubicBezTo>
                <a:cubicBezTo>
                  <a:pt x="972" y="1804"/>
                  <a:pt x="960" y="1799"/>
                  <a:pt x="958" y="1793"/>
                </a:cubicBezTo>
                <a:close/>
                <a:moveTo>
                  <a:pt x="912" y="122"/>
                </a:moveTo>
                <a:cubicBezTo>
                  <a:pt x="914" y="122"/>
                  <a:pt x="917" y="122"/>
                  <a:pt x="919" y="122"/>
                </a:cubicBezTo>
                <a:cubicBezTo>
                  <a:pt x="927" y="122"/>
                  <a:pt x="920" y="106"/>
                  <a:pt x="930" y="111"/>
                </a:cubicBezTo>
                <a:cubicBezTo>
                  <a:pt x="932" y="113"/>
                  <a:pt x="931" y="122"/>
                  <a:pt x="938" y="127"/>
                </a:cubicBezTo>
                <a:cubicBezTo>
                  <a:pt x="945" y="131"/>
                  <a:pt x="937" y="140"/>
                  <a:pt x="934" y="146"/>
                </a:cubicBezTo>
                <a:cubicBezTo>
                  <a:pt x="932" y="151"/>
                  <a:pt x="926" y="150"/>
                  <a:pt x="922" y="144"/>
                </a:cubicBezTo>
                <a:cubicBezTo>
                  <a:pt x="917" y="135"/>
                  <a:pt x="908" y="129"/>
                  <a:pt x="898" y="125"/>
                </a:cubicBezTo>
                <a:cubicBezTo>
                  <a:pt x="903" y="121"/>
                  <a:pt x="907" y="123"/>
                  <a:pt x="912" y="122"/>
                </a:cubicBezTo>
                <a:close/>
                <a:moveTo>
                  <a:pt x="908" y="1758"/>
                </a:moveTo>
                <a:cubicBezTo>
                  <a:pt x="902" y="1749"/>
                  <a:pt x="893" y="1742"/>
                  <a:pt x="894" y="1728"/>
                </a:cubicBezTo>
                <a:cubicBezTo>
                  <a:pt x="904" y="1734"/>
                  <a:pt x="914" y="1738"/>
                  <a:pt x="913" y="1720"/>
                </a:cubicBezTo>
                <a:cubicBezTo>
                  <a:pt x="920" y="1722"/>
                  <a:pt x="920" y="1727"/>
                  <a:pt x="921" y="1730"/>
                </a:cubicBezTo>
                <a:cubicBezTo>
                  <a:pt x="925" y="1738"/>
                  <a:pt x="929" y="1739"/>
                  <a:pt x="934" y="1733"/>
                </a:cubicBezTo>
                <a:cubicBezTo>
                  <a:pt x="935" y="1731"/>
                  <a:pt x="936" y="1728"/>
                  <a:pt x="938" y="1728"/>
                </a:cubicBezTo>
                <a:cubicBezTo>
                  <a:pt x="950" y="1722"/>
                  <a:pt x="950" y="1722"/>
                  <a:pt x="940" y="1712"/>
                </a:cubicBezTo>
                <a:cubicBezTo>
                  <a:pt x="939" y="1711"/>
                  <a:pt x="938" y="1710"/>
                  <a:pt x="937" y="1708"/>
                </a:cubicBezTo>
                <a:cubicBezTo>
                  <a:pt x="936" y="1707"/>
                  <a:pt x="937" y="1706"/>
                  <a:pt x="936" y="1704"/>
                </a:cubicBezTo>
                <a:cubicBezTo>
                  <a:pt x="946" y="1705"/>
                  <a:pt x="956" y="1705"/>
                  <a:pt x="966" y="1706"/>
                </a:cubicBezTo>
                <a:cubicBezTo>
                  <a:pt x="964" y="1713"/>
                  <a:pt x="958" y="1710"/>
                  <a:pt x="954" y="1712"/>
                </a:cubicBezTo>
                <a:cubicBezTo>
                  <a:pt x="958" y="1717"/>
                  <a:pt x="962" y="1725"/>
                  <a:pt x="965" y="1727"/>
                </a:cubicBezTo>
                <a:cubicBezTo>
                  <a:pt x="982" y="1736"/>
                  <a:pt x="980" y="1753"/>
                  <a:pt x="987" y="1765"/>
                </a:cubicBezTo>
                <a:cubicBezTo>
                  <a:pt x="989" y="1768"/>
                  <a:pt x="990" y="1771"/>
                  <a:pt x="990" y="1774"/>
                </a:cubicBezTo>
                <a:cubicBezTo>
                  <a:pt x="991" y="1780"/>
                  <a:pt x="998" y="1787"/>
                  <a:pt x="992" y="1792"/>
                </a:cubicBezTo>
                <a:cubicBezTo>
                  <a:pt x="986" y="1796"/>
                  <a:pt x="980" y="1789"/>
                  <a:pt x="974" y="1787"/>
                </a:cubicBezTo>
                <a:cubicBezTo>
                  <a:pt x="967" y="1786"/>
                  <a:pt x="971" y="1784"/>
                  <a:pt x="974" y="1782"/>
                </a:cubicBezTo>
                <a:cubicBezTo>
                  <a:pt x="976" y="1780"/>
                  <a:pt x="974" y="1777"/>
                  <a:pt x="973" y="1777"/>
                </a:cubicBezTo>
                <a:cubicBezTo>
                  <a:pt x="960" y="1773"/>
                  <a:pt x="950" y="1763"/>
                  <a:pt x="938" y="1757"/>
                </a:cubicBezTo>
                <a:cubicBezTo>
                  <a:pt x="933" y="1754"/>
                  <a:pt x="929" y="1756"/>
                  <a:pt x="925" y="1761"/>
                </a:cubicBezTo>
                <a:cubicBezTo>
                  <a:pt x="919" y="1767"/>
                  <a:pt x="913" y="1768"/>
                  <a:pt x="908" y="1758"/>
                </a:cubicBezTo>
                <a:close/>
                <a:moveTo>
                  <a:pt x="911" y="1868"/>
                </a:moveTo>
                <a:cubicBezTo>
                  <a:pt x="927" y="1863"/>
                  <a:pt x="924" y="1845"/>
                  <a:pt x="929" y="1832"/>
                </a:cubicBezTo>
                <a:cubicBezTo>
                  <a:pt x="946" y="1842"/>
                  <a:pt x="954" y="1860"/>
                  <a:pt x="969" y="1873"/>
                </a:cubicBezTo>
                <a:cubicBezTo>
                  <a:pt x="961" y="1878"/>
                  <a:pt x="952" y="1877"/>
                  <a:pt x="948" y="1886"/>
                </a:cubicBezTo>
                <a:cubicBezTo>
                  <a:pt x="945" y="1892"/>
                  <a:pt x="935" y="1885"/>
                  <a:pt x="933" y="1881"/>
                </a:cubicBezTo>
                <a:cubicBezTo>
                  <a:pt x="927" y="1872"/>
                  <a:pt x="920" y="1868"/>
                  <a:pt x="911" y="1868"/>
                </a:cubicBezTo>
                <a:close/>
                <a:moveTo>
                  <a:pt x="1049" y="2006"/>
                </a:moveTo>
                <a:cubicBezTo>
                  <a:pt x="1047" y="2018"/>
                  <a:pt x="1035" y="2006"/>
                  <a:pt x="1027" y="2010"/>
                </a:cubicBezTo>
                <a:cubicBezTo>
                  <a:pt x="1020" y="2014"/>
                  <a:pt x="1011" y="2014"/>
                  <a:pt x="1003" y="2015"/>
                </a:cubicBezTo>
                <a:cubicBezTo>
                  <a:pt x="997" y="2016"/>
                  <a:pt x="992" y="2018"/>
                  <a:pt x="988" y="2012"/>
                </a:cubicBezTo>
                <a:cubicBezTo>
                  <a:pt x="983" y="2001"/>
                  <a:pt x="968" y="2012"/>
                  <a:pt x="964" y="1998"/>
                </a:cubicBezTo>
                <a:cubicBezTo>
                  <a:pt x="970" y="1995"/>
                  <a:pt x="975" y="1999"/>
                  <a:pt x="980" y="2001"/>
                </a:cubicBezTo>
                <a:cubicBezTo>
                  <a:pt x="983" y="2003"/>
                  <a:pt x="986" y="2007"/>
                  <a:pt x="989" y="2002"/>
                </a:cubicBezTo>
                <a:cubicBezTo>
                  <a:pt x="991" y="1998"/>
                  <a:pt x="990" y="1993"/>
                  <a:pt x="986" y="1990"/>
                </a:cubicBezTo>
                <a:cubicBezTo>
                  <a:pt x="977" y="1983"/>
                  <a:pt x="966" y="1985"/>
                  <a:pt x="957" y="1985"/>
                </a:cubicBezTo>
                <a:cubicBezTo>
                  <a:pt x="949" y="1986"/>
                  <a:pt x="942" y="1982"/>
                  <a:pt x="934" y="1982"/>
                </a:cubicBezTo>
                <a:cubicBezTo>
                  <a:pt x="939" y="1967"/>
                  <a:pt x="974" y="1968"/>
                  <a:pt x="950" y="1943"/>
                </a:cubicBezTo>
                <a:cubicBezTo>
                  <a:pt x="961" y="1945"/>
                  <a:pt x="974" y="1953"/>
                  <a:pt x="977" y="1961"/>
                </a:cubicBezTo>
                <a:cubicBezTo>
                  <a:pt x="979" y="1969"/>
                  <a:pt x="984" y="1973"/>
                  <a:pt x="989" y="1979"/>
                </a:cubicBezTo>
                <a:cubicBezTo>
                  <a:pt x="1000" y="1992"/>
                  <a:pt x="1025" y="1988"/>
                  <a:pt x="1031" y="1972"/>
                </a:cubicBezTo>
                <a:cubicBezTo>
                  <a:pt x="1033" y="1975"/>
                  <a:pt x="1036" y="1978"/>
                  <a:pt x="1038" y="1981"/>
                </a:cubicBezTo>
                <a:cubicBezTo>
                  <a:pt x="1042" y="1989"/>
                  <a:pt x="1051" y="1999"/>
                  <a:pt x="1049" y="2006"/>
                </a:cubicBezTo>
                <a:close/>
                <a:moveTo>
                  <a:pt x="1148" y="1825"/>
                </a:moveTo>
                <a:cubicBezTo>
                  <a:pt x="1152" y="1820"/>
                  <a:pt x="1154" y="1826"/>
                  <a:pt x="1157" y="1827"/>
                </a:cubicBezTo>
                <a:cubicBezTo>
                  <a:pt x="1169" y="1833"/>
                  <a:pt x="1172" y="1824"/>
                  <a:pt x="1169" y="1816"/>
                </a:cubicBezTo>
                <a:cubicBezTo>
                  <a:pt x="1166" y="1807"/>
                  <a:pt x="1172" y="1805"/>
                  <a:pt x="1177" y="1805"/>
                </a:cubicBezTo>
                <a:cubicBezTo>
                  <a:pt x="1183" y="1805"/>
                  <a:pt x="1188" y="1792"/>
                  <a:pt x="1196" y="1807"/>
                </a:cubicBezTo>
                <a:cubicBezTo>
                  <a:pt x="1204" y="1822"/>
                  <a:pt x="1210" y="1836"/>
                  <a:pt x="1210" y="1853"/>
                </a:cubicBezTo>
                <a:cubicBezTo>
                  <a:pt x="1210" y="1859"/>
                  <a:pt x="1207" y="1870"/>
                  <a:pt x="1223" y="1861"/>
                </a:cubicBezTo>
                <a:cubicBezTo>
                  <a:pt x="1214" y="1873"/>
                  <a:pt x="1208" y="1872"/>
                  <a:pt x="1199" y="1867"/>
                </a:cubicBezTo>
                <a:cubicBezTo>
                  <a:pt x="1186" y="1859"/>
                  <a:pt x="1173" y="1854"/>
                  <a:pt x="1159" y="1849"/>
                </a:cubicBezTo>
                <a:cubicBezTo>
                  <a:pt x="1154" y="1847"/>
                  <a:pt x="1150" y="1844"/>
                  <a:pt x="1147" y="1840"/>
                </a:cubicBezTo>
                <a:cubicBezTo>
                  <a:pt x="1144" y="1835"/>
                  <a:pt x="1145" y="1829"/>
                  <a:pt x="1148" y="1825"/>
                </a:cubicBezTo>
                <a:close/>
                <a:moveTo>
                  <a:pt x="1090" y="261"/>
                </a:moveTo>
                <a:cubicBezTo>
                  <a:pt x="1092" y="249"/>
                  <a:pt x="1094" y="237"/>
                  <a:pt x="1106" y="229"/>
                </a:cubicBezTo>
                <a:cubicBezTo>
                  <a:pt x="1107" y="228"/>
                  <a:pt x="1109" y="228"/>
                  <a:pt x="1110" y="227"/>
                </a:cubicBezTo>
                <a:cubicBezTo>
                  <a:pt x="1119" y="219"/>
                  <a:pt x="1128" y="221"/>
                  <a:pt x="1131" y="233"/>
                </a:cubicBezTo>
                <a:cubicBezTo>
                  <a:pt x="1132" y="236"/>
                  <a:pt x="1139" y="246"/>
                  <a:pt x="1124" y="246"/>
                </a:cubicBezTo>
                <a:cubicBezTo>
                  <a:pt x="1118" y="246"/>
                  <a:pt x="1100" y="244"/>
                  <a:pt x="1101" y="262"/>
                </a:cubicBezTo>
                <a:cubicBezTo>
                  <a:pt x="1101" y="265"/>
                  <a:pt x="1097" y="265"/>
                  <a:pt x="1095" y="265"/>
                </a:cubicBezTo>
                <a:cubicBezTo>
                  <a:pt x="1092" y="265"/>
                  <a:pt x="1089" y="265"/>
                  <a:pt x="1090" y="261"/>
                </a:cubicBezTo>
                <a:close/>
                <a:moveTo>
                  <a:pt x="1091" y="1937"/>
                </a:moveTo>
                <a:cubicBezTo>
                  <a:pt x="1083" y="1935"/>
                  <a:pt x="1084" y="1943"/>
                  <a:pt x="1082" y="1948"/>
                </a:cubicBezTo>
                <a:cubicBezTo>
                  <a:pt x="1080" y="1953"/>
                  <a:pt x="1077" y="1956"/>
                  <a:pt x="1072" y="1950"/>
                </a:cubicBezTo>
                <a:cubicBezTo>
                  <a:pt x="1064" y="1940"/>
                  <a:pt x="1065" y="1919"/>
                  <a:pt x="1072" y="1909"/>
                </a:cubicBezTo>
                <a:cubicBezTo>
                  <a:pt x="1078" y="1901"/>
                  <a:pt x="1068" y="1890"/>
                  <a:pt x="1076" y="1881"/>
                </a:cubicBezTo>
                <a:cubicBezTo>
                  <a:pt x="1078" y="1880"/>
                  <a:pt x="1071" y="1876"/>
                  <a:pt x="1064" y="1875"/>
                </a:cubicBezTo>
                <a:cubicBezTo>
                  <a:pt x="1079" y="1862"/>
                  <a:pt x="1096" y="1850"/>
                  <a:pt x="1092" y="1828"/>
                </a:cubicBezTo>
                <a:cubicBezTo>
                  <a:pt x="1093" y="1835"/>
                  <a:pt x="1103" y="1837"/>
                  <a:pt x="1102" y="1843"/>
                </a:cubicBezTo>
                <a:cubicBezTo>
                  <a:pt x="1101" y="1849"/>
                  <a:pt x="1097" y="1855"/>
                  <a:pt x="1101" y="1862"/>
                </a:cubicBezTo>
                <a:cubicBezTo>
                  <a:pt x="1103" y="1865"/>
                  <a:pt x="1099" y="1864"/>
                  <a:pt x="1097" y="1864"/>
                </a:cubicBezTo>
                <a:cubicBezTo>
                  <a:pt x="1093" y="1864"/>
                  <a:pt x="1089" y="1865"/>
                  <a:pt x="1088" y="1869"/>
                </a:cubicBezTo>
                <a:cubicBezTo>
                  <a:pt x="1088" y="1874"/>
                  <a:pt x="1091" y="1878"/>
                  <a:pt x="1096" y="1880"/>
                </a:cubicBezTo>
                <a:cubicBezTo>
                  <a:pt x="1102" y="1882"/>
                  <a:pt x="1106" y="1886"/>
                  <a:pt x="1101" y="1897"/>
                </a:cubicBezTo>
                <a:cubicBezTo>
                  <a:pt x="1100" y="1886"/>
                  <a:pt x="1095" y="1884"/>
                  <a:pt x="1089" y="1887"/>
                </a:cubicBezTo>
                <a:cubicBezTo>
                  <a:pt x="1085" y="1889"/>
                  <a:pt x="1077" y="1885"/>
                  <a:pt x="1078" y="1892"/>
                </a:cubicBezTo>
                <a:cubicBezTo>
                  <a:pt x="1078" y="1900"/>
                  <a:pt x="1079" y="1911"/>
                  <a:pt x="1087" y="1915"/>
                </a:cubicBezTo>
                <a:cubicBezTo>
                  <a:pt x="1093" y="1918"/>
                  <a:pt x="1097" y="1923"/>
                  <a:pt x="1102" y="1927"/>
                </a:cubicBezTo>
                <a:cubicBezTo>
                  <a:pt x="1106" y="1931"/>
                  <a:pt x="1114" y="1932"/>
                  <a:pt x="1120" y="1934"/>
                </a:cubicBezTo>
                <a:cubicBezTo>
                  <a:pt x="1110" y="1934"/>
                  <a:pt x="1101" y="1941"/>
                  <a:pt x="1091" y="1937"/>
                </a:cubicBezTo>
                <a:close/>
                <a:moveTo>
                  <a:pt x="1347" y="2375"/>
                </a:moveTo>
                <a:cubicBezTo>
                  <a:pt x="1334" y="2390"/>
                  <a:pt x="1327" y="2403"/>
                  <a:pt x="1326" y="2422"/>
                </a:cubicBezTo>
                <a:cubicBezTo>
                  <a:pt x="1326" y="2431"/>
                  <a:pt x="1331" y="2445"/>
                  <a:pt x="1323" y="2448"/>
                </a:cubicBezTo>
                <a:cubicBezTo>
                  <a:pt x="1315" y="2451"/>
                  <a:pt x="1309" y="2438"/>
                  <a:pt x="1303" y="2431"/>
                </a:cubicBezTo>
                <a:cubicBezTo>
                  <a:pt x="1279" y="2407"/>
                  <a:pt x="1261" y="2378"/>
                  <a:pt x="1242" y="2349"/>
                </a:cubicBezTo>
                <a:cubicBezTo>
                  <a:pt x="1224" y="2320"/>
                  <a:pt x="1208" y="2291"/>
                  <a:pt x="1195" y="2260"/>
                </a:cubicBezTo>
                <a:cubicBezTo>
                  <a:pt x="1179" y="2223"/>
                  <a:pt x="1156" y="2189"/>
                  <a:pt x="1149" y="2148"/>
                </a:cubicBezTo>
                <a:cubicBezTo>
                  <a:pt x="1144" y="2114"/>
                  <a:pt x="1131" y="2082"/>
                  <a:pt x="1121" y="2049"/>
                </a:cubicBezTo>
                <a:cubicBezTo>
                  <a:pt x="1119" y="2042"/>
                  <a:pt x="1119" y="2034"/>
                  <a:pt x="1124" y="2029"/>
                </a:cubicBezTo>
                <a:cubicBezTo>
                  <a:pt x="1130" y="2024"/>
                  <a:pt x="1136" y="2027"/>
                  <a:pt x="1143" y="2030"/>
                </a:cubicBezTo>
                <a:cubicBezTo>
                  <a:pt x="1148" y="2033"/>
                  <a:pt x="1156" y="2038"/>
                  <a:pt x="1151" y="2025"/>
                </a:cubicBezTo>
                <a:cubicBezTo>
                  <a:pt x="1149" y="2021"/>
                  <a:pt x="1150" y="2020"/>
                  <a:pt x="1154" y="2020"/>
                </a:cubicBezTo>
                <a:cubicBezTo>
                  <a:pt x="1168" y="2022"/>
                  <a:pt x="1153" y="2011"/>
                  <a:pt x="1159" y="2008"/>
                </a:cubicBezTo>
                <a:cubicBezTo>
                  <a:pt x="1165" y="2005"/>
                  <a:pt x="1171" y="2012"/>
                  <a:pt x="1177" y="2008"/>
                </a:cubicBezTo>
                <a:cubicBezTo>
                  <a:pt x="1178" y="2007"/>
                  <a:pt x="1179" y="2005"/>
                  <a:pt x="1179" y="2004"/>
                </a:cubicBezTo>
                <a:cubicBezTo>
                  <a:pt x="1179" y="1988"/>
                  <a:pt x="1188" y="1990"/>
                  <a:pt x="1199" y="1996"/>
                </a:cubicBezTo>
                <a:cubicBezTo>
                  <a:pt x="1203" y="1981"/>
                  <a:pt x="1179" y="1982"/>
                  <a:pt x="1186" y="1967"/>
                </a:cubicBezTo>
                <a:cubicBezTo>
                  <a:pt x="1197" y="1969"/>
                  <a:pt x="1208" y="1974"/>
                  <a:pt x="1219" y="1966"/>
                </a:cubicBezTo>
                <a:cubicBezTo>
                  <a:pt x="1225" y="1961"/>
                  <a:pt x="1230" y="1971"/>
                  <a:pt x="1234" y="1975"/>
                </a:cubicBezTo>
                <a:cubicBezTo>
                  <a:pt x="1236" y="1977"/>
                  <a:pt x="1236" y="1982"/>
                  <a:pt x="1240" y="1981"/>
                </a:cubicBezTo>
                <a:cubicBezTo>
                  <a:pt x="1244" y="1979"/>
                  <a:pt x="1244" y="1975"/>
                  <a:pt x="1243" y="1972"/>
                </a:cubicBezTo>
                <a:cubicBezTo>
                  <a:pt x="1239" y="1965"/>
                  <a:pt x="1239" y="1961"/>
                  <a:pt x="1249" y="1960"/>
                </a:cubicBezTo>
                <a:cubicBezTo>
                  <a:pt x="1259" y="1959"/>
                  <a:pt x="1255" y="1953"/>
                  <a:pt x="1250" y="1950"/>
                </a:cubicBezTo>
                <a:cubicBezTo>
                  <a:pt x="1243" y="1946"/>
                  <a:pt x="1240" y="1940"/>
                  <a:pt x="1240" y="1933"/>
                </a:cubicBezTo>
                <a:cubicBezTo>
                  <a:pt x="1254" y="1931"/>
                  <a:pt x="1268" y="1934"/>
                  <a:pt x="1281" y="1936"/>
                </a:cubicBezTo>
                <a:cubicBezTo>
                  <a:pt x="1287" y="1937"/>
                  <a:pt x="1288" y="1944"/>
                  <a:pt x="1290" y="1949"/>
                </a:cubicBezTo>
                <a:cubicBezTo>
                  <a:pt x="1292" y="1953"/>
                  <a:pt x="1295" y="1957"/>
                  <a:pt x="1301" y="1957"/>
                </a:cubicBezTo>
                <a:cubicBezTo>
                  <a:pt x="1307" y="1957"/>
                  <a:pt x="1306" y="1951"/>
                  <a:pt x="1306" y="1947"/>
                </a:cubicBezTo>
                <a:cubicBezTo>
                  <a:pt x="1307" y="1945"/>
                  <a:pt x="1307" y="1942"/>
                  <a:pt x="1311" y="1942"/>
                </a:cubicBezTo>
                <a:cubicBezTo>
                  <a:pt x="1314" y="1943"/>
                  <a:pt x="1315" y="1944"/>
                  <a:pt x="1317" y="1947"/>
                </a:cubicBezTo>
                <a:cubicBezTo>
                  <a:pt x="1322" y="1956"/>
                  <a:pt x="1325" y="1974"/>
                  <a:pt x="1340" y="1954"/>
                </a:cubicBezTo>
                <a:cubicBezTo>
                  <a:pt x="1342" y="1951"/>
                  <a:pt x="1346" y="1956"/>
                  <a:pt x="1348" y="1958"/>
                </a:cubicBezTo>
                <a:cubicBezTo>
                  <a:pt x="1362" y="1968"/>
                  <a:pt x="1361" y="1984"/>
                  <a:pt x="1363" y="1999"/>
                </a:cubicBezTo>
                <a:cubicBezTo>
                  <a:pt x="1368" y="2029"/>
                  <a:pt x="1370" y="2058"/>
                  <a:pt x="1357" y="2087"/>
                </a:cubicBezTo>
                <a:cubicBezTo>
                  <a:pt x="1355" y="2093"/>
                  <a:pt x="1351" y="2093"/>
                  <a:pt x="1346" y="2095"/>
                </a:cubicBezTo>
                <a:cubicBezTo>
                  <a:pt x="1342" y="2097"/>
                  <a:pt x="1339" y="2102"/>
                  <a:pt x="1341" y="2107"/>
                </a:cubicBezTo>
                <a:cubicBezTo>
                  <a:pt x="1343" y="2113"/>
                  <a:pt x="1348" y="2110"/>
                  <a:pt x="1351" y="2107"/>
                </a:cubicBezTo>
                <a:cubicBezTo>
                  <a:pt x="1358" y="2102"/>
                  <a:pt x="1360" y="2107"/>
                  <a:pt x="1363" y="2112"/>
                </a:cubicBezTo>
                <a:cubicBezTo>
                  <a:pt x="1369" y="2123"/>
                  <a:pt x="1371" y="2137"/>
                  <a:pt x="1371" y="2150"/>
                </a:cubicBezTo>
                <a:cubicBezTo>
                  <a:pt x="1371" y="2178"/>
                  <a:pt x="1373" y="2206"/>
                  <a:pt x="1371" y="2234"/>
                </a:cubicBezTo>
                <a:cubicBezTo>
                  <a:pt x="1370" y="2250"/>
                  <a:pt x="1373" y="2266"/>
                  <a:pt x="1364" y="2281"/>
                </a:cubicBezTo>
                <a:cubicBezTo>
                  <a:pt x="1361" y="2285"/>
                  <a:pt x="1361" y="2290"/>
                  <a:pt x="1365" y="2294"/>
                </a:cubicBezTo>
                <a:cubicBezTo>
                  <a:pt x="1373" y="2301"/>
                  <a:pt x="1372" y="2308"/>
                  <a:pt x="1373" y="2319"/>
                </a:cubicBezTo>
                <a:cubicBezTo>
                  <a:pt x="1373" y="2343"/>
                  <a:pt x="1360" y="2361"/>
                  <a:pt x="1347" y="2375"/>
                </a:cubicBezTo>
                <a:close/>
                <a:moveTo>
                  <a:pt x="1587" y="1975"/>
                </a:moveTo>
                <a:cubicBezTo>
                  <a:pt x="1574" y="2004"/>
                  <a:pt x="1557" y="2030"/>
                  <a:pt x="1531" y="2052"/>
                </a:cubicBezTo>
                <a:cubicBezTo>
                  <a:pt x="1513" y="2067"/>
                  <a:pt x="1499" y="2087"/>
                  <a:pt x="1485" y="2106"/>
                </a:cubicBezTo>
                <a:cubicBezTo>
                  <a:pt x="1475" y="2119"/>
                  <a:pt x="1464" y="2129"/>
                  <a:pt x="1452" y="2138"/>
                </a:cubicBezTo>
                <a:cubicBezTo>
                  <a:pt x="1444" y="2144"/>
                  <a:pt x="1435" y="2141"/>
                  <a:pt x="1434" y="2131"/>
                </a:cubicBezTo>
                <a:cubicBezTo>
                  <a:pt x="1434" y="2116"/>
                  <a:pt x="1427" y="2101"/>
                  <a:pt x="1432" y="2086"/>
                </a:cubicBezTo>
                <a:cubicBezTo>
                  <a:pt x="1433" y="2083"/>
                  <a:pt x="1434" y="2078"/>
                  <a:pt x="1432" y="2075"/>
                </a:cubicBezTo>
                <a:cubicBezTo>
                  <a:pt x="1425" y="2067"/>
                  <a:pt x="1429" y="2060"/>
                  <a:pt x="1434" y="2052"/>
                </a:cubicBezTo>
                <a:cubicBezTo>
                  <a:pt x="1437" y="2047"/>
                  <a:pt x="1439" y="2041"/>
                  <a:pt x="1428" y="2045"/>
                </a:cubicBezTo>
                <a:cubicBezTo>
                  <a:pt x="1424" y="2047"/>
                  <a:pt x="1422" y="2044"/>
                  <a:pt x="1421" y="2039"/>
                </a:cubicBezTo>
                <a:cubicBezTo>
                  <a:pt x="1416" y="2013"/>
                  <a:pt x="1416" y="1986"/>
                  <a:pt x="1416" y="1959"/>
                </a:cubicBezTo>
                <a:cubicBezTo>
                  <a:pt x="1416" y="1955"/>
                  <a:pt x="1418" y="1950"/>
                  <a:pt x="1420" y="1947"/>
                </a:cubicBezTo>
                <a:cubicBezTo>
                  <a:pt x="1429" y="1935"/>
                  <a:pt x="1434" y="1922"/>
                  <a:pt x="1425" y="1905"/>
                </a:cubicBezTo>
                <a:cubicBezTo>
                  <a:pt x="1436" y="1911"/>
                  <a:pt x="1441" y="1915"/>
                  <a:pt x="1448" y="1902"/>
                </a:cubicBezTo>
                <a:cubicBezTo>
                  <a:pt x="1451" y="1896"/>
                  <a:pt x="1466" y="1903"/>
                  <a:pt x="1474" y="1907"/>
                </a:cubicBezTo>
                <a:cubicBezTo>
                  <a:pt x="1477" y="1909"/>
                  <a:pt x="1478" y="1911"/>
                  <a:pt x="1480" y="1913"/>
                </a:cubicBezTo>
                <a:cubicBezTo>
                  <a:pt x="1484" y="1916"/>
                  <a:pt x="1490" y="1919"/>
                  <a:pt x="1494" y="1915"/>
                </a:cubicBezTo>
                <a:cubicBezTo>
                  <a:pt x="1499" y="1909"/>
                  <a:pt x="1494" y="1905"/>
                  <a:pt x="1489" y="1901"/>
                </a:cubicBezTo>
                <a:cubicBezTo>
                  <a:pt x="1495" y="1900"/>
                  <a:pt x="1502" y="1911"/>
                  <a:pt x="1506" y="1899"/>
                </a:cubicBezTo>
                <a:cubicBezTo>
                  <a:pt x="1507" y="1897"/>
                  <a:pt x="1509" y="1899"/>
                  <a:pt x="1509" y="1901"/>
                </a:cubicBezTo>
                <a:cubicBezTo>
                  <a:pt x="1515" y="1922"/>
                  <a:pt x="1528" y="1908"/>
                  <a:pt x="1539" y="1907"/>
                </a:cubicBezTo>
                <a:cubicBezTo>
                  <a:pt x="1535" y="1915"/>
                  <a:pt x="1537" y="1921"/>
                  <a:pt x="1543" y="1927"/>
                </a:cubicBezTo>
                <a:cubicBezTo>
                  <a:pt x="1548" y="1932"/>
                  <a:pt x="1550" y="1935"/>
                  <a:pt x="1540" y="1935"/>
                </a:cubicBezTo>
                <a:cubicBezTo>
                  <a:pt x="1538" y="1935"/>
                  <a:pt x="1534" y="1934"/>
                  <a:pt x="1534" y="1938"/>
                </a:cubicBezTo>
                <a:cubicBezTo>
                  <a:pt x="1534" y="1940"/>
                  <a:pt x="1536" y="1942"/>
                  <a:pt x="1537" y="1944"/>
                </a:cubicBezTo>
                <a:cubicBezTo>
                  <a:pt x="1545" y="1952"/>
                  <a:pt x="1556" y="1953"/>
                  <a:pt x="1564" y="1949"/>
                </a:cubicBezTo>
                <a:cubicBezTo>
                  <a:pt x="1573" y="1944"/>
                  <a:pt x="1570" y="1935"/>
                  <a:pt x="1564" y="1927"/>
                </a:cubicBezTo>
                <a:cubicBezTo>
                  <a:pt x="1561" y="1924"/>
                  <a:pt x="1563" y="1920"/>
                  <a:pt x="1564" y="1917"/>
                </a:cubicBezTo>
                <a:cubicBezTo>
                  <a:pt x="1577" y="1924"/>
                  <a:pt x="1581" y="1939"/>
                  <a:pt x="1591" y="1949"/>
                </a:cubicBezTo>
                <a:cubicBezTo>
                  <a:pt x="1598" y="1955"/>
                  <a:pt x="1590" y="1967"/>
                  <a:pt x="1587" y="1975"/>
                </a:cubicBezTo>
                <a:close/>
                <a:moveTo>
                  <a:pt x="1589" y="142"/>
                </a:moveTo>
                <a:cubicBezTo>
                  <a:pt x="1587" y="138"/>
                  <a:pt x="1591" y="139"/>
                  <a:pt x="1592" y="137"/>
                </a:cubicBezTo>
                <a:cubicBezTo>
                  <a:pt x="1595" y="132"/>
                  <a:pt x="1602" y="125"/>
                  <a:pt x="1598" y="123"/>
                </a:cubicBezTo>
                <a:cubicBezTo>
                  <a:pt x="1591" y="120"/>
                  <a:pt x="1582" y="117"/>
                  <a:pt x="1574" y="121"/>
                </a:cubicBezTo>
                <a:cubicBezTo>
                  <a:pt x="1570" y="123"/>
                  <a:pt x="1575" y="126"/>
                  <a:pt x="1574" y="129"/>
                </a:cubicBezTo>
                <a:cubicBezTo>
                  <a:pt x="1574" y="133"/>
                  <a:pt x="1572" y="136"/>
                  <a:pt x="1568" y="134"/>
                </a:cubicBezTo>
                <a:cubicBezTo>
                  <a:pt x="1566" y="133"/>
                  <a:pt x="1560" y="135"/>
                  <a:pt x="1562" y="129"/>
                </a:cubicBezTo>
                <a:cubicBezTo>
                  <a:pt x="1565" y="121"/>
                  <a:pt x="1562" y="108"/>
                  <a:pt x="1578" y="112"/>
                </a:cubicBezTo>
                <a:cubicBezTo>
                  <a:pt x="1579" y="105"/>
                  <a:pt x="1571" y="106"/>
                  <a:pt x="1569" y="101"/>
                </a:cubicBezTo>
                <a:cubicBezTo>
                  <a:pt x="1588" y="99"/>
                  <a:pt x="1600" y="108"/>
                  <a:pt x="1603" y="124"/>
                </a:cubicBezTo>
                <a:cubicBezTo>
                  <a:pt x="1604" y="128"/>
                  <a:pt x="1607" y="132"/>
                  <a:pt x="1610" y="130"/>
                </a:cubicBezTo>
                <a:cubicBezTo>
                  <a:pt x="1622" y="118"/>
                  <a:pt x="1624" y="129"/>
                  <a:pt x="1628" y="137"/>
                </a:cubicBezTo>
                <a:cubicBezTo>
                  <a:pt x="1630" y="141"/>
                  <a:pt x="1635" y="136"/>
                  <a:pt x="1638" y="144"/>
                </a:cubicBezTo>
                <a:cubicBezTo>
                  <a:pt x="1621" y="137"/>
                  <a:pt x="1605" y="136"/>
                  <a:pt x="1589" y="142"/>
                </a:cubicBezTo>
                <a:close/>
                <a:moveTo>
                  <a:pt x="1813" y="259"/>
                </a:moveTo>
                <a:cubicBezTo>
                  <a:pt x="1810" y="263"/>
                  <a:pt x="1807" y="258"/>
                  <a:pt x="1804" y="257"/>
                </a:cubicBezTo>
                <a:cubicBezTo>
                  <a:pt x="1802" y="257"/>
                  <a:pt x="1801" y="256"/>
                  <a:pt x="1800" y="255"/>
                </a:cubicBezTo>
                <a:cubicBezTo>
                  <a:pt x="1780" y="251"/>
                  <a:pt x="1779" y="243"/>
                  <a:pt x="1793" y="227"/>
                </a:cubicBezTo>
                <a:cubicBezTo>
                  <a:pt x="1794" y="225"/>
                  <a:pt x="1795" y="223"/>
                  <a:pt x="1797" y="220"/>
                </a:cubicBezTo>
                <a:cubicBezTo>
                  <a:pt x="1804" y="229"/>
                  <a:pt x="1803" y="241"/>
                  <a:pt x="1814" y="246"/>
                </a:cubicBezTo>
                <a:cubicBezTo>
                  <a:pt x="1817" y="247"/>
                  <a:pt x="1816" y="256"/>
                  <a:pt x="1813" y="259"/>
                </a:cubicBezTo>
                <a:close/>
                <a:moveTo>
                  <a:pt x="2026" y="1895"/>
                </a:moveTo>
                <a:cubicBezTo>
                  <a:pt x="2025" y="1889"/>
                  <a:pt x="2018" y="1890"/>
                  <a:pt x="2014" y="1887"/>
                </a:cubicBezTo>
                <a:cubicBezTo>
                  <a:pt x="2007" y="1898"/>
                  <a:pt x="2001" y="1890"/>
                  <a:pt x="1995" y="1887"/>
                </a:cubicBezTo>
                <a:cubicBezTo>
                  <a:pt x="1993" y="1886"/>
                  <a:pt x="1990" y="1887"/>
                  <a:pt x="1987" y="1888"/>
                </a:cubicBezTo>
                <a:cubicBezTo>
                  <a:pt x="1995" y="1903"/>
                  <a:pt x="1979" y="1899"/>
                  <a:pt x="1975" y="1902"/>
                </a:cubicBezTo>
                <a:cubicBezTo>
                  <a:pt x="1967" y="1907"/>
                  <a:pt x="1966" y="1917"/>
                  <a:pt x="1959" y="1922"/>
                </a:cubicBezTo>
                <a:cubicBezTo>
                  <a:pt x="1953" y="1926"/>
                  <a:pt x="1950" y="1931"/>
                  <a:pt x="1942" y="1930"/>
                </a:cubicBezTo>
                <a:cubicBezTo>
                  <a:pt x="1934" y="1929"/>
                  <a:pt x="1932" y="1925"/>
                  <a:pt x="1934" y="1919"/>
                </a:cubicBezTo>
                <a:cubicBezTo>
                  <a:pt x="1936" y="1915"/>
                  <a:pt x="1933" y="1905"/>
                  <a:pt x="1945" y="1909"/>
                </a:cubicBezTo>
                <a:cubicBezTo>
                  <a:pt x="1952" y="1912"/>
                  <a:pt x="1962" y="1911"/>
                  <a:pt x="1966" y="1903"/>
                </a:cubicBezTo>
                <a:cubicBezTo>
                  <a:pt x="1969" y="1896"/>
                  <a:pt x="1962" y="1890"/>
                  <a:pt x="1958" y="1884"/>
                </a:cubicBezTo>
                <a:cubicBezTo>
                  <a:pt x="1955" y="1880"/>
                  <a:pt x="1949" y="1880"/>
                  <a:pt x="1948" y="1873"/>
                </a:cubicBezTo>
                <a:cubicBezTo>
                  <a:pt x="1964" y="1875"/>
                  <a:pt x="1973" y="1870"/>
                  <a:pt x="1969" y="1852"/>
                </a:cubicBezTo>
                <a:cubicBezTo>
                  <a:pt x="1969" y="1850"/>
                  <a:pt x="1977" y="1840"/>
                  <a:pt x="1984" y="1836"/>
                </a:cubicBezTo>
                <a:cubicBezTo>
                  <a:pt x="1978" y="1847"/>
                  <a:pt x="1986" y="1861"/>
                  <a:pt x="1977" y="1872"/>
                </a:cubicBezTo>
                <a:cubicBezTo>
                  <a:pt x="1975" y="1875"/>
                  <a:pt x="1975" y="1879"/>
                  <a:pt x="1978" y="1881"/>
                </a:cubicBezTo>
                <a:cubicBezTo>
                  <a:pt x="1981" y="1882"/>
                  <a:pt x="1984" y="1881"/>
                  <a:pt x="1987" y="1878"/>
                </a:cubicBezTo>
                <a:cubicBezTo>
                  <a:pt x="2007" y="1864"/>
                  <a:pt x="2030" y="1870"/>
                  <a:pt x="2038" y="1894"/>
                </a:cubicBezTo>
                <a:cubicBezTo>
                  <a:pt x="2040" y="1902"/>
                  <a:pt x="2045" y="1898"/>
                  <a:pt x="2050" y="1900"/>
                </a:cubicBezTo>
                <a:cubicBezTo>
                  <a:pt x="2032" y="1913"/>
                  <a:pt x="2032" y="1913"/>
                  <a:pt x="2026" y="1895"/>
                </a:cubicBezTo>
                <a:close/>
                <a:moveTo>
                  <a:pt x="2220" y="1863"/>
                </a:moveTo>
                <a:cubicBezTo>
                  <a:pt x="2218" y="1853"/>
                  <a:pt x="2211" y="1855"/>
                  <a:pt x="2206" y="1856"/>
                </a:cubicBezTo>
                <a:cubicBezTo>
                  <a:pt x="2194" y="1858"/>
                  <a:pt x="2187" y="1864"/>
                  <a:pt x="2187" y="1877"/>
                </a:cubicBezTo>
                <a:cubicBezTo>
                  <a:pt x="2162" y="1872"/>
                  <a:pt x="2167" y="1849"/>
                  <a:pt x="2158" y="1833"/>
                </a:cubicBezTo>
                <a:cubicBezTo>
                  <a:pt x="2169" y="1834"/>
                  <a:pt x="2180" y="1832"/>
                  <a:pt x="2188" y="1844"/>
                </a:cubicBezTo>
                <a:cubicBezTo>
                  <a:pt x="2190" y="1847"/>
                  <a:pt x="2206" y="1858"/>
                  <a:pt x="2207" y="1838"/>
                </a:cubicBezTo>
                <a:cubicBezTo>
                  <a:pt x="2207" y="1835"/>
                  <a:pt x="2210" y="1832"/>
                  <a:pt x="2214" y="1833"/>
                </a:cubicBezTo>
                <a:cubicBezTo>
                  <a:pt x="2216" y="1833"/>
                  <a:pt x="2219" y="1836"/>
                  <a:pt x="2218" y="1836"/>
                </a:cubicBezTo>
                <a:cubicBezTo>
                  <a:pt x="2208" y="1846"/>
                  <a:pt x="2224" y="1852"/>
                  <a:pt x="2220" y="1863"/>
                </a:cubicBezTo>
                <a:close/>
                <a:moveTo>
                  <a:pt x="2559" y="934"/>
                </a:moveTo>
                <a:cubicBezTo>
                  <a:pt x="2546" y="934"/>
                  <a:pt x="2534" y="928"/>
                  <a:pt x="2521" y="936"/>
                </a:cubicBezTo>
                <a:cubicBezTo>
                  <a:pt x="2516" y="939"/>
                  <a:pt x="2515" y="934"/>
                  <a:pt x="2514" y="931"/>
                </a:cubicBezTo>
                <a:cubicBezTo>
                  <a:pt x="2509" y="920"/>
                  <a:pt x="2503" y="911"/>
                  <a:pt x="2494" y="902"/>
                </a:cubicBezTo>
                <a:cubicBezTo>
                  <a:pt x="2506" y="902"/>
                  <a:pt x="2518" y="909"/>
                  <a:pt x="2528" y="905"/>
                </a:cubicBezTo>
                <a:cubicBezTo>
                  <a:pt x="2538" y="901"/>
                  <a:pt x="2549" y="907"/>
                  <a:pt x="2559" y="901"/>
                </a:cubicBezTo>
                <a:cubicBezTo>
                  <a:pt x="2566" y="896"/>
                  <a:pt x="2576" y="902"/>
                  <a:pt x="2572" y="909"/>
                </a:cubicBezTo>
                <a:cubicBezTo>
                  <a:pt x="2565" y="926"/>
                  <a:pt x="2573" y="930"/>
                  <a:pt x="2588" y="930"/>
                </a:cubicBezTo>
                <a:cubicBezTo>
                  <a:pt x="2578" y="935"/>
                  <a:pt x="2569" y="933"/>
                  <a:pt x="2559" y="934"/>
                </a:cubicBezTo>
                <a:close/>
                <a:moveTo>
                  <a:pt x="2606" y="1367"/>
                </a:moveTo>
                <a:cubicBezTo>
                  <a:pt x="2601" y="1367"/>
                  <a:pt x="2597" y="1368"/>
                  <a:pt x="2598" y="1375"/>
                </a:cubicBezTo>
                <a:cubicBezTo>
                  <a:pt x="2599" y="1378"/>
                  <a:pt x="2599" y="1382"/>
                  <a:pt x="2594" y="1381"/>
                </a:cubicBezTo>
                <a:cubicBezTo>
                  <a:pt x="2590" y="1380"/>
                  <a:pt x="2588" y="1377"/>
                  <a:pt x="2589" y="1373"/>
                </a:cubicBezTo>
                <a:cubicBezTo>
                  <a:pt x="2592" y="1363"/>
                  <a:pt x="2588" y="1355"/>
                  <a:pt x="2580" y="1347"/>
                </a:cubicBezTo>
                <a:cubicBezTo>
                  <a:pt x="2578" y="1345"/>
                  <a:pt x="2570" y="1337"/>
                  <a:pt x="2576" y="1334"/>
                </a:cubicBezTo>
                <a:cubicBezTo>
                  <a:pt x="2583" y="1330"/>
                  <a:pt x="2584" y="1310"/>
                  <a:pt x="2598" y="1323"/>
                </a:cubicBezTo>
                <a:cubicBezTo>
                  <a:pt x="2600" y="1325"/>
                  <a:pt x="2604" y="1325"/>
                  <a:pt x="2606" y="1323"/>
                </a:cubicBezTo>
                <a:cubicBezTo>
                  <a:pt x="2609" y="1320"/>
                  <a:pt x="2605" y="1319"/>
                  <a:pt x="2603" y="1318"/>
                </a:cubicBezTo>
                <a:cubicBezTo>
                  <a:pt x="2600" y="1315"/>
                  <a:pt x="2603" y="1313"/>
                  <a:pt x="2605" y="1313"/>
                </a:cubicBezTo>
                <a:cubicBezTo>
                  <a:pt x="2618" y="1310"/>
                  <a:pt x="2626" y="1320"/>
                  <a:pt x="2636" y="1323"/>
                </a:cubicBezTo>
                <a:cubicBezTo>
                  <a:pt x="2633" y="1331"/>
                  <a:pt x="2635" y="1339"/>
                  <a:pt x="2637" y="1348"/>
                </a:cubicBezTo>
                <a:cubicBezTo>
                  <a:pt x="2622" y="1348"/>
                  <a:pt x="2617" y="1332"/>
                  <a:pt x="2604" y="1332"/>
                </a:cubicBezTo>
                <a:cubicBezTo>
                  <a:pt x="2600" y="1332"/>
                  <a:pt x="2594" y="1327"/>
                  <a:pt x="2592" y="1335"/>
                </a:cubicBezTo>
                <a:cubicBezTo>
                  <a:pt x="2591" y="1340"/>
                  <a:pt x="2592" y="1346"/>
                  <a:pt x="2598" y="1348"/>
                </a:cubicBezTo>
                <a:cubicBezTo>
                  <a:pt x="2607" y="1351"/>
                  <a:pt x="2611" y="1361"/>
                  <a:pt x="2620" y="1363"/>
                </a:cubicBezTo>
                <a:cubicBezTo>
                  <a:pt x="2615" y="1368"/>
                  <a:pt x="2610" y="1366"/>
                  <a:pt x="2606" y="1367"/>
                </a:cubicBezTo>
                <a:close/>
                <a:moveTo>
                  <a:pt x="838" y="1947"/>
                </a:moveTo>
                <a:cubicBezTo>
                  <a:pt x="833" y="1942"/>
                  <a:pt x="824" y="1943"/>
                  <a:pt x="822" y="1947"/>
                </a:cubicBezTo>
                <a:cubicBezTo>
                  <a:pt x="817" y="1959"/>
                  <a:pt x="810" y="1951"/>
                  <a:pt x="804" y="1949"/>
                </a:cubicBezTo>
                <a:cubicBezTo>
                  <a:pt x="795" y="1946"/>
                  <a:pt x="791" y="1949"/>
                  <a:pt x="790" y="1958"/>
                </a:cubicBezTo>
                <a:cubicBezTo>
                  <a:pt x="792" y="1964"/>
                  <a:pt x="791" y="1972"/>
                  <a:pt x="797" y="1976"/>
                </a:cubicBezTo>
                <a:cubicBezTo>
                  <a:pt x="802" y="1980"/>
                  <a:pt x="808" y="1982"/>
                  <a:pt x="809" y="1972"/>
                </a:cubicBezTo>
                <a:cubicBezTo>
                  <a:pt x="810" y="1969"/>
                  <a:pt x="807" y="1965"/>
                  <a:pt x="813" y="1964"/>
                </a:cubicBezTo>
                <a:cubicBezTo>
                  <a:pt x="818" y="1963"/>
                  <a:pt x="821" y="1964"/>
                  <a:pt x="823" y="1969"/>
                </a:cubicBezTo>
                <a:cubicBezTo>
                  <a:pt x="824" y="1972"/>
                  <a:pt x="827" y="1976"/>
                  <a:pt x="829" y="1975"/>
                </a:cubicBezTo>
                <a:cubicBezTo>
                  <a:pt x="835" y="1971"/>
                  <a:pt x="840" y="1966"/>
                  <a:pt x="843" y="1960"/>
                </a:cubicBezTo>
                <a:cubicBezTo>
                  <a:pt x="846" y="1955"/>
                  <a:pt x="842" y="1950"/>
                  <a:pt x="838" y="1947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CFD0C6F-F543-4BBA-8272-2B9D06AA5786}"/>
              </a:ext>
            </a:extLst>
          </p:cNvPr>
          <p:cNvSpPr txBox="1"/>
          <p:nvPr/>
        </p:nvSpPr>
        <p:spPr>
          <a:xfrm>
            <a:off x="1904144" y="3953410"/>
            <a:ext cx="1725273" cy="664477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4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 bold"/>
                <a:ea typeface="+mn-ea"/>
                <a:cs typeface="+mn-cs"/>
              </a:rPr>
              <a:t>40% </a:t>
            </a:r>
          </a:p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4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Header 2</a:t>
            </a:r>
          </a:p>
          <a:p>
            <a:pPr marL="0" marR="0" lvl="0" indent="0" algn="ctr" defTabSz="914378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65A">
                    <a:lumMod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Lorem ipsum dolor</a:t>
            </a:r>
          </a:p>
        </p:txBody>
      </p:sp>
    </p:spTree>
    <p:extLst>
      <p:ext uri="{BB962C8B-B14F-4D97-AF65-F5344CB8AC3E}">
        <p14:creationId xmlns:p14="http://schemas.microsoft.com/office/powerpoint/2010/main" val="34648056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t Slides">
  <a:themeElements>
    <a:clrScheme name="InfoCepts Template 4.1">
      <a:dk1>
        <a:srgbClr val="05203A"/>
      </a:dk1>
      <a:lt1>
        <a:srgbClr val="F2F2F2"/>
      </a:lt1>
      <a:dk2>
        <a:srgbClr val="002856"/>
      </a:dk2>
      <a:lt2>
        <a:srgbClr val="FFFFFF"/>
      </a:lt2>
      <a:accent1>
        <a:srgbClr val="CFD7DD"/>
      </a:accent1>
      <a:accent2>
        <a:srgbClr val="889DAC"/>
      </a:accent2>
      <a:accent3>
        <a:srgbClr val="5E7688"/>
      </a:accent3>
      <a:accent4>
        <a:srgbClr val="002856"/>
      </a:accent4>
      <a:accent5>
        <a:srgbClr val="20DE86"/>
      </a:accent5>
      <a:accent6>
        <a:srgbClr val="0FC9F4"/>
      </a:accent6>
      <a:hlink>
        <a:srgbClr val="00428D"/>
      </a:hlink>
      <a:folHlink>
        <a:srgbClr val="00428D"/>
      </a:folHlink>
    </a:clrScheme>
    <a:fontScheme name="InfoCepts Font">
      <a:majorFont>
        <a:latin typeface="Inter 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bg1">
                <a:lumMod val="1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nfoCepts Presentation Template_4.0" id="{11E63A15-74B1-47ED-95F2-1650092088E3}" vid="{8752A3F6-800D-4970-8FD4-42C89B056B8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560</Words>
  <Application>Microsoft Office PowerPoint</Application>
  <PresentationFormat>Widescreen</PresentationFormat>
  <Paragraphs>116</Paragraphs>
  <Slides>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rial</vt:lpstr>
      <vt:lpstr>Calibri</vt:lpstr>
      <vt:lpstr>Calibri Light</vt:lpstr>
      <vt:lpstr>Helvetica Light</vt:lpstr>
      <vt:lpstr>Inter</vt:lpstr>
      <vt:lpstr>Inter Bold</vt:lpstr>
      <vt:lpstr>Open Sans</vt:lpstr>
      <vt:lpstr>Wingdings</vt:lpstr>
      <vt:lpstr>Office Theme</vt:lpstr>
      <vt:lpstr>Content Slid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meet Agrawal</dc:creator>
  <cp:lastModifiedBy>Sumeet Agrawal</cp:lastModifiedBy>
  <cp:revision>1</cp:revision>
  <dcterms:created xsi:type="dcterms:W3CDTF">2024-03-30T09:17:37Z</dcterms:created>
  <dcterms:modified xsi:type="dcterms:W3CDTF">2024-03-30T09:21:49Z</dcterms:modified>
</cp:coreProperties>
</file>